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4"/>
  </p:sldMasterIdLst>
  <p:notesMasterIdLst>
    <p:notesMasterId r:id="rId37"/>
  </p:notesMasterIdLst>
  <p:handoutMasterIdLst>
    <p:handoutMasterId r:id="rId38"/>
  </p:handoutMasterIdLst>
  <p:sldIdLst>
    <p:sldId id="257" r:id="rId5"/>
    <p:sldId id="3933" r:id="rId6"/>
    <p:sldId id="3904" r:id="rId7"/>
    <p:sldId id="3905" r:id="rId8"/>
    <p:sldId id="488" r:id="rId9"/>
    <p:sldId id="652" r:id="rId10"/>
    <p:sldId id="3906" r:id="rId11"/>
    <p:sldId id="3907" r:id="rId12"/>
    <p:sldId id="3908" r:id="rId13"/>
    <p:sldId id="3909" r:id="rId14"/>
    <p:sldId id="3910" r:id="rId15"/>
    <p:sldId id="3911" r:id="rId16"/>
    <p:sldId id="3914" r:id="rId17"/>
    <p:sldId id="3915" r:id="rId18"/>
    <p:sldId id="3912" r:id="rId19"/>
    <p:sldId id="3916" r:id="rId20"/>
    <p:sldId id="3917" r:id="rId21"/>
    <p:sldId id="3918" r:id="rId22"/>
    <p:sldId id="3919" r:id="rId23"/>
    <p:sldId id="3920" r:id="rId24"/>
    <p:sldId id="3922" r:id="rId25"/>
    <p:sldId id="3921" r:id="rId26"/>
    <p:sldId id="3923" r:id="rId27"/>
    <p:sldId id="3924" r:id="rId28"/>
    <p:sldId id="3925" r:id="rId29"/>
    <p:sldId id="3930" r:id="rId30"/>
    <p:sldId id="3926" r:id="rId31"/>
    <p:sldId id="3929" r:id="rId32"/>
    <p:sldId id="3931" r:id="rId33"/>
    <p:sldId id="3932" r:id="rId34"/>
    <p:sldId id="3927" r:id="rId35"/>
    <p:sldId id="3928"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sey Foss" initials="CF" lastIdx="8" clrIdx="0">
    <p:extLst>
      <p:ext uri="{19B8F6BF-5375-455C-9EA6-DF929625EA0E}">
        <p15:presenceInfo xmlns:p15="http://schemas.microsoft.com/office/powerpoint/2012/main" userId="S::cfoss@westmonroepartners.com::63401be6-90bd-4169-a875-2aade61390f1" providerId="AD"/>
      </p:ext>
    </p:extLst>
  </p:cmAuthor>
  <p:cmAuthor id="2" name="Maggie Santolla" initials="MS" lastIdx="4" clrIdx="1">
    <p:extLst>
      <p:ext uri="{19B8F6BF-5375-455C-9EA6-DF929625EA0E}">
        <p15:presenceInfo xmlns:p15="http://schemas.microsoft.com/office/powerpoint/2012/main" userId="S::msantolla@westmonroepartners.com::d8bc9c9f-aa23-4c53-b9b1-9ad1c03f261e" providerId="AD"/>
      </p:ext>
    </p:extLst>
  </p:cmAuthor>
  <p:cmAuthor id="3" name="Emily Pillat" initials="EP" lastIdx="6" clrIdx="2">
    <p:extLst>
      <p:ext uri="{19B8F6BF-5375-455C-9EA6-DF929625EA0E}">
        <p15:presenceInfo xmlns:p15="http://schemas.microsoft.com/office/powerpoint/2012/main" userId="S::epillat@westmonroepartners.com::1694e4ef-676b-4f28-9cd0-e8fa7386ea4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92B49"/>
    <a:srgbClr val="062541"/>
    <a:srgbClr val="091B2F"/>
    <a:srgbClr val="F0AC45"/>
    <a:srgbClr val="F9F9F9"/>
    <a:srgbClr val="EFEF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8DD83C-51BE-544B-9DB2-DBB36DD04160}" v="2" dt="2021-09-15T17:14:05.8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433"/>
    <p:restoredTop sz="96327"/>
  </p:normalViewPr>
  <p:slideViewPr>
    <p:cSldViewPr snapToGrid="0" snapToObjects="1">
      <p:cViewPr varScale="1">
        <p:scale>
          <a:sx n="151" d="100"/>
          <a:sy n="151" d="100"/>
        </p:scale>
        <p:origin x="208" y="240"/>
      </p:cViewPr>
      <p:guideLst/>
    </p:cSldViewPr>
  </p:slideViewPr>
  <p:notesTextViewPr>
    <p:cViewPr>
      <p:scale>
        <a:sx n="1" d="1"/>
        <a:sy n="1" d="1"/>
      </p:scale>
      <p:origin x="0" y="0"/>
    </p:cViewPr>
  </p:notesTextViewPr>
  <p:notesViewPr>
    <p:cSldViewPr snapToGrid="0" snapToObjects="1">
      <p:cViewPr varScale="1">
        <p:scale>
          <a:sx n="97" d="100"/>
          <a:sy n="97" d="100"/>
        </p:scale>
        <p:origin x="4328" y="20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 Mallott" userId="dcb254b6-3083-4a8e-a95c-2824abb75bec" providerId="ADAL" clId="{6A8DD83C-51BE-544B-9DB2-DBB36DD04160}"/>
    <pc:docChg chg="custSel addSld modSld">
      <pc:chgData name="Dan Mallott" userId="dcb254b6-3083-4a8e-a95c-2824abb75bec" providerId="ADAL" clId="{6A8DD83C-51BE-544B-9DB2-DBB36DD04160}" dt="2021-09-15T17:18:18.890" v="11" actId="2711"/>
      <pc:docMkLst>
        <pc:docMk/>
      </pc:docMkLst>
      <pc:sldChg chg="addSp delSp modSp mod">
        <pc:chgData name="Dan Mallott" userId="dcb254b6-3083-4a8e-a95c-2824abb75bec" providerId="ADAL" clId="{6A8DD83C-51BE-544B-9DB2-DBB36DD04160}" dt="2021-09-15T17:14:23.744" v="8" actId="14100"/>
        <pc:sldMkLst>
          <pc:docMk/>
          <pc:sldMk cId="2141373773" sldId="3916"/>
        </pc:sldMkLst>
        <pc:picChg chg="del">
          <ac:chgData name="Dan Mallott" userId="dcb254b6-3083-4a8e-a95c-2824abb75bec" providerId="ADAL" clId="{6A8DD83C-51BE-544B-9DB2-DBB36DD04160}" dt="2021-09-15T17:14:02.738" v="1" actId="478"/>
          <ac:picMkLst>
            <pc:docMk/>
            <pc:sldMk cId="2141373773" sldId="3916"/>
            <ac:picMk id="7" creationId="{9CEA6379-2CC0-8D40-B1C2-AA6CC955A6B8}"/>
          </ac:picMkLst>
        </pc:picChg>
        <pc:picChg chg="add mod">
          <ac:chgData name="Dan Mallott" userId="dcb254b6-3083-4a8e-a95c-2824abb75bec" providerId="ADAL" clId="{6A8DD83C-51BE-544B-9DB2-DBB36DD04160}" dt="2021-09-15T17:14:23.744" v="8" actId="14100"/>
          <ac:picMkLst>
            <pc:docMk/>
            <pc:sldMk cId="2141373773" sldId="3916"/>
            <ac:picMk id="8" creationId="{0C31BC00-1E74-764E-B3E5-F5D2E898D8AA}"/>
          </ac:picMkLst>
        </pc:picChg>
      </pc:sldChg>
      <pc:sldChg chg="modSp mod">
        <pc:chgData name="Dan Mallott" userId="dcb254b6-3083-4a8e-a95c-2824abb75bec" providerId="ADAL" clId="{6A8DD83C-51BE-544B-9DB2-DBB36DD04160}" dt="2021-09-15T17:18:18.890" v="11" actId="2711"/>
        <pc:sldMkLst>
          <pc:docMk/>
          <pc:sldMk cId="1316840020" sldId="3919"/>
        </pc:sldMkLst>
        <pc:graphicFrameChg chg="modGraphic">
          <ac:chgData name="Dan Mallott" userId="dcb254b6-3083-4a8e-a95c-2824abb75bec" providerId="ADAL" clId="{6A8DD83C-51BE-544B-9DB2-DBB36DD04160}" dt="2021-09-15T17:18:18.890" v="11" actId="2711"/>
          <ac:graphicFrameMkLst>
            <pc:docMk/>
            <pc:sldMk cId="1316840020" sldId="3919"/>
            <ac:graphicFrameMk id="31" creationId="{AF6DB1EF-F8D8-4A46-9924-2EDF9D2DE984}"/>
          </ac:graphicFrameMkLst>
        </pc:graphicFrameChg>
      </pc:sldChg>
      <pc:sldChg chg="add setBg">
        <pc:chgData name="Dan Mallott" userId="dcb254b6-3083-4a8e-a95c-2824abb75bec" providerId="ADAL" clId="{6A8DD83C-51BE-544B-9DB2-DBB36DD04160}" dt="2021-09-15T16:30:44.479" v="0"/>
        <pc:sldMkLst>
          <pc:docMk/>
          <pc:sldMk cId="4043054023" sldId="3933"/>
        </pc:sldMkLst>
      </pc:sldChg>
    </pc:docChg>
  </pc:docChgLst>
  <pc:docChgLst>
    <pc:chgData name="Dan Mallott" userId="dcb254b6-3083-4a8e-a95c-2824abb75bec" providerId="ADAL" clId="{EDF15544-1E4F-2C46-8CA1-28C465275CC4}"/>
    <pc:docChg chg="undo custSel addSld delSld modSld sldOrd">
      <pc:chgData name="Dan Mallott" userId="dcb254b6-3083-4a8e-a95c-2824abb75bec" providerId="ADAL" clId="{EDF15544-1E4F-2C46-8CA1-28C465275CC4}" dt="2021-09-09T02:26:34.566" v="9959" actId="20577"/>
      <pc:docMkLst>
        <pc:docMk/>
      </pc:docMkLst>
      <pc:sldChg chg="addSp delSp modSp add mod">
        <pc:chgData name="Dan Mallott" userId="dcb254b6-3083-4a8e-a95c-2824abb75bec" providerId="ADAL" clId="{EDF15544-1E4F-2C46-8CA1-28C465275CC4}" dt="2021-08-30T19:29:31.920" v="463" actId="313"/>
        <pc:sldMkLst>
          <pc:docMk/>
          <pc:sldMk cId="2653763451" sldId="488"/>
        </pc:sldMkLst>
        <pc:spChg chg="add mod">
          <ac:chgData name="Dan Mallott" userId="dcb254b6-3083-4a8e-a95c-2824abb75bec" providerId="ADAL" clId="{EDF15544-1E4F-2C46-8CA1-28C465275CC4}" dt="2021-08-30T19:08:18.806" v="204" actId="1076"/>
          <ac:spMkLst>
            <pc:docMk/>
            <pc:sldMk cId="2653763451" sldId="488"/>
            <ac:spMk id="3" creationId="{51A9F056-A327-774F-910A-4324256B457B}"/>
          </ac:spMkLst>
        </pc:spChg>
        <pc:spChg chg="add mod">
          <ac:chgData name="Dan Mallott" userId="dcb254b6-3083-4a8e-a95c-2824abb75bec" providerId="ADAL" clId="{EDF15544-1E4F-2C46-8CA1-28C465275CC4}" dt="2021-08-30T19:29:31.920" v="463" actId="313"/>
          <ac:spMkLst>
            <pc:docMk/>
            <pc:sldMk cId="2653763451" sldId="488"/>
            <ac:spMk id="4" creationId="{794DB417-9B7A-7444-B3A7-34D53B6AFD79}"/>
          </ac:spMkLst>
        </pc:spChg>
        <pc:spChg chg="mod">
          <ac:chgData name="Dan Mallott" userId="dcb254b6-3083-4a8e-a95c-2824abb75bec" providerId="ADAL" clId="{EDF15544-1E4F-2C46-8CA1-28C465275CC4}" dt="2021-08-30T19:05:06.823" v="59"/>
          <ac:spMkLst>
            <pc:docMk/>
            <pc:sldMk cId="2653763451" sldId="488"/>
            <ac:spMk id="17" creationId="{00000000-0000-0000-0000-000000000000}"/>
          </ac:spMkLst>
        </pc:spChg>
        <pc:spChg chg="del">
          <ac:chgData name="Dan Mallott" userId="dcb254b6-3083-4a8e-a95c-2824abb75bec" providerId="ADAL" clId="{EDF15544-1E4F-2C46-8CA1-28C465275CC4}" dt="2021-08-30T19:17:25.293" v="231" actId="478"/>
          <ac:spMkLst>
            <pc:docMk/>
            <pc:sldMk cId="2653763451" sldId="488"/>
            <ac:spMk id="25" creationId="{00000000-0000-0000-0000-000000000000}"/>
          </ac:spMkLst>
        </pc:spChg>
        <pc:spChg chg="mod">
          <ac:chgData name="Dan Mallott" userId="dcb254b6-3083-4a8e-a95c-2824abb75bec" providerId="ADAL" clId="{EDF15544-1E4F-2C46-8CA1-28C465275CC4}" dt="2021-08-30T19:05:26.978" v="104" actId="6549"/>
          <ac:spMkLst>
            <pc:docMk/>
            <pc:sldMk cId="2653763451" sldId="488"/>
            <ac:spMk id="29" creationId="{00000000-0000-0000-0000-000000000000}"/>
          </ac:spMkLst>
        </pc:spChg>
        <pc:spChg chg="mod">
          <ac:chgData name="Dan Mallott" userId="dcb254b6-3083-4a8e-a95c-2824abb75bec" providerId="ADAL" clId="{EDF15544-1E4F-2C46-8CA1-28C465275CC4}" dt="2021-08-30T19:05:45.167" v="140" actId="6549"/>
          <ac:spMkLst>
            <pc:docMk/>
            <pc:sldMk cId="2653763451" sldId="488"/>
            <ac:spMk id="30" creationId="{00000000-0000-0000-0000-000000000000}"/>
          </ac:spMkLst>
        </pc:spChg>
        <pc:spChg chg="mod">
          <ac:chgData name="Dan Mallott" userId="dcb254b6-3083-4a8e-a95c-2824abb75bec" providerId="ADAL" clId="{EDF15544-1E4F-2C46-8CA1-28C465275CC4}" dt="2021-08-30T19:07:56.760" v="202" actId="6549"/>
          <ac:spMkLst>
            <pc:docMk/>
            <pc:sldMk cId="2653763451" sldId="488"/>
            <ac:spMk id="31" creationId="{00000000-0000-0000-0000-000000000000}"/>
          </ac:spMkLst>
        </pc:spChg>
        <pc:spChg chg="mod">
          <ac:chgData name="Dan Mallott" userId="dcb254b6-3083-4a8e-a95c-2824abb75bec" providerId="ADAL" clId="{EDF15544-1E4F-2C46-8CA1-28C465275CC4}" dt="2021-08-30T19:17:22.501" v="230" actId="6549"/>
          <ac:spMkLst>
            <pc:docMk/>
            <pc:sldMk cId="2653763451" sldId="488"/>
            <ac:spMk id="32" creationId="{00000000-0000-0000-0000-000000000000}"/>
          </ac:spMkLst>
        </pc:spChg>
        <pc:spChg chg="del">
          <ac:chgData name="Dan Mallott" userId="dcb254b6-3083-4a8e-a95c-2824abb75bec" providerId="ADAL" clId="{EDF15544-1E4F-2C46-8CA1-28C465275CC4}" dt="2021-08-30T19:17:25.293" v="231" actId="478"/>
          <ac:spMkLst>
            <pc:docMk/>
            <pc:sldMk cId="2653763451" sldId="488"/>
            <ac:spMk id="33" creationId="{00000000-0000-0000-0000-000000000000}"/>
          </ac:spMkLst>
        </pc:spChg>
        <pc:picChg chg="add mod">
          <ac:chgData name="Dan Mallott" userId="dcb254b6-3083-4a8e-a95c-2824abb75bec" providerId="ADAL" clId="{EDF15544-1E4F-2C46-8CA1-28C465275CC4}" dt="2021-08-30T19:04:10.859" v="5" actId="1076"/>
          <ac:picMkLst>
            <pc:docMk/>
            <pc:sldMk cId="2653763451" sldId="488"/>
            <ac:picMk id="16" creationId="{B9254675-B28D-1946-A31F-EFE54235C474}"/>
          </ac:picMkLst>
        </pc:picChg>
      </pc:sldChg>
      <pc:sldChg chg="modSp mod">
        <pc:chgData name="Dan Mallott" userId="dcb254b6-3083-4a8e-a95c-2824abb75bec" providerId="ADAL" clId="{EDF15544-1E4F-2C46-8CA1-28C465275CC4}" dt="2021-08-30T19:29:55.241" v="469" actId="403"/>
        <pc:sldMkLst>
          <pc:docMk/>
          <pc:sldMk cId="1250123543" sldId="652"/>
        </pc:sldMkLst>
        <pc:spChg chg="mod">
          <ac:chgData name="Dan Mallott" userId="dcb254b6-3083-4a8e-a95c-2824abb75bec" providerId="ADAL" clId="{EDF15544-1E4F-2C46-8CA1-28C465275CC4}" dt="2021-08-30T19:29:55.241" v="469" actId="403"/>
          <ac:spMkLst>
            <pc:docMk/>
            <pc:sldMk cId="1250123543" sldId="652"/>
            <ac:spMk id="4" creationId="{7A151A74-05C8-A845-80C7-4E36BD71BEA9}"/>
          </ac:spMkLst>
        </pc:spChg>
      </pc:sldChg>
      <pc:sldChg chg="addSp delSp modSp new del mod modClrScheme chgLayout">
        <pc:chgData name="Dan Mallott" userId="dcb254b6-3083-4a8e-a95c-2824abb75bec" providerId="ADAL" clId="{EDF15544-1E4F-2C46-8CA1-28C465275CC4}" dt="2021-08-30T19:03:56.177" v="3" actId="2696"/>
        <pc:sldMkLst>
          <pc:docMk/>
          <pc:sldMk cId="434655954" sldId="3906"/>
        </pc:sldMkLst>
        <pc:spChg chg="del mod ord">
          <ac:chgData name="Dan Mallott" userId="dcb254b6-3083-4a8e-a95c-2824abb75bec" providerId="ADAL" clId="{EDF15544-1E4F-2C46-8CA1-28C465275CC4}" dt="2021-08-30T18:53:03.952" v="1" actId="700"/>
          <ac:spMkLst>
            <pc:docMk/>
            <pc:sldMk cId="434655954" sldId="3906"/>
            <ac:spMk id="2" creationId="{B13314A1-1EF4-1347-95D0-9276EBE9C81A}"/>
          </ac:spMkLst>
        </pc:spChg>
        <pc:spChg chg="mod ord">
          <ac:chgData name="Dan Mallott" userId="dcb254b6-3083-4a8e-a95c-2824abb75bec" providerId="ADAL" clId="{EDF15544-1E4F-2C46-8CA1-28C465275CC4}" dt="2021-08-30T18:53:03.952" v="1" actId="700"/>
          <ac:spMkLst>
            <pc:docMk/>
            <pc:sldMk cId="434655954" sldId="3906"/>
            <ac:spMk id="3" creationId="{10344814-3BE4-1040-A3D2-50D978305170}"/>
          </ac:spMkLst>
        </pc:spChg>
        <pc:spChg chg="add mod ord">
          <ac:chgData name="Dan Mallott" userId="dcb254b6-3083-4a8e-a95c-2824abb75bec" providerId="ADAL" clId="{EDF15544-1E4F-2C46-8CA1-28C465275CC4}" dt="2021-08-30T18:53:03.952" v="1" actId="700"/>
          <ac:spMkLst>
            <pc:docMk/>
            <pc:sldMk cId="434655954" sldId="3906"/>
            <ac:spMk id="4" creationId="{2013BEBF-BF6B-7D4F-8DDE-81CBC71F855B}"/>
          </ac:spMkLst>
        </pc:spChg>
        <pc:spChg chg="add mod ord">
          <ac:chgData name="Dan Mallott" userId="dcb254b6-3083-4a8e-a95c-2824abb75bec" providerId="ADAL" clId="{EDF15544-1E4F-2C46-8CA1-28C465275CC4}" dt="2021-08-30T18:53:03.952" v="1" actId="700"/>
          <ac:spMkLst>
            <pc:docMk/>
            <pc:sldMk cId="434655954" sldId="3906"/>
            <ac:spMk id="5" creationId="{D93094AF-AE8A-3549-915C-2EF917ACACA6}"/>
          </ac:spMkLst>
        </pc:spChg>
      </pc:sldChg>
      <pc:sldChg chg="modSp new mod">
        <pc:chgData name="Dan Mallott" userId="dcb254b6-3083-4a8e-a95c-2824abb75bec" providerId="ADAL" clId="{EDF15544-1E4F-2C46-8CA1-28C465275CC4}" dt="2021-08-30T20:02:35.721" v="521" actId="114"/>
        <pc:sldMkLst>
          <pc:docMk/>
          <pc:sldMk cId="1560607944" sldId="3906"/>
        </pc:sldMkLst>
        <pc:spChg chg="mod">
          <ac:chgData name="Dan Mallott" userId="dcb254b6-3083-4a8e-a95c-2824abb75bec" providerId="ADAL" clId="{EDF15544-1E4F-2C46-8CA1-28C465275CC4}" dt="2021-08-30T20:02:35.721" v="521" actId="114"/>
          <ac:spMkLst>
            <pc:docMk/>
            <pc:sldMk cId="1560607944" sldId="3906"/>
            <ac:spMk id="2" creationId="{02312E43-1E7E-514B-801E-A19431C1A0DA}"/>
          </ac:spMkLst>
        </pc:spChg>
      </pc:sldChg>
      <pc:sldChg chg="addSp delSp modSp new mod">
        <pc:chgData name="Dan Mallott" userId="dcb254b6-3083-4a8e-a95c-2824abb75bec" providerId="ADAL" clId="{EDF15544-1E4F-2C46-8CA1-28C465275CC4}" dt="2021-08-30T20:55:48.144" v="802" actId="255"/>
        <pc:sldMkLst>
          <pc:docMk/>
          <pc:sldMk cId="2554077878" sldId="3907"/>
        </pc:sldMkLst>
        <pc:spChg chg="mod">
          <ac:chgData name="Dan Mallott" userId="dcb254b6-3083-4a8e-a95c-2824abb75bec" providerId="ADAL" clId="{EDF15544-1E4F-2C46-8CA1-28C465275CC4}" dt="2021-08-30T20:03:50.915" v="576" actId="255"/>
          <ac:spMkLst>
            <pc:docMk/>
            <pc:sldMk cId="2554077878" sldId="3907"/>
            <ac:spMk id="2" creationId="{4F258701-2D17-FC4C-A476-1388E6FF9384}"/>
          </ac:spMkLst>
        </pc:spChg>
        <pc:spChg chg="mod">
          <ac:chgData name="Dan Mallott" userId="dcb254b6-3083-4a8e-a95c-2824abb75bec" providerId="ADAL" clId="{EDF15544-1E4F-2C46-8CA1-28C465275CC4}" dt="2021-08-30T20:03:30.354" v="535" actId="20577"/>
          <ac:spMkLst>
            <pc:docMk/>
            <pc:sldMk cId="2554077878" sldId="3907"/>
            <ac:spMk id="3" creationId="{419CE6B1-0BDD-6E4A-8D51-F271D01956B8}"/>
          </ac:spMkLst>
        </pc:spChg>
        <pc:spChg chg="mod">
          <ac:chgData name="Dan Mallott" userId="dcb254b6-3083-4a8e-a95c-2824abb75bec" providerId="ADAL" clId="{EDF15544-1E4F-2C46-8CA1-28C465275CC4}" dt="2021-08-30T20:15:29.096" v="592" actId="1076"/>
          <ac:spMkLst>
            <pc:docMk/>
            <pc:sldMk cId="2554077878" sldId="3907"/>
            <ac:spMk id="4" creationId="{C604E2EF-B74B-6042-BB59-418C294F12AA}"/>
          </ac:spMkLst>
        </pc:spChg>
        <pc:spChg chg="add mod">
          <ac:chgData name="Dan Mallott" userId="dcb254b6-3083-4a8e-a95c-2824abb75bec" providerId="ADAL" clId="{EDF15544-1E4F-2C46-8CA1-28C465275CC4}" dt="2021-08-30T20:17:42.847" v="677" actId="1036"/>
          <ac:spMkLst>
            <pc:docMk/>
            <pc:sldMk cId="2554077878" sldId="3907"/>
            <ac:spMk id="7" creationId="{150778C9-3D83-4E47-9FB8-39784A75CD51}"/>
          </ac:spMkLst>
        </pc:spChg>
        <pc:spChg chg="add del mod">
          <ac:chgData name="Dan Mallott" userId="dcb254b6-3083-4a8e-a95c-2824abb75bec" providerId="ADAL" clId="{EDF15544-1E4F-2C46-8CA1-28C465275CC4}" dt="2021-08-30T20:17:17.632" v="671" actId="478"/>
          <ac:spMkLst>
            <pc:docMk/>
            <pc:sldMk cId="2554077878" sldId="3907"/>
            <ac:spMk id="8" creationId="{AC8596A5-30C1-7F43-A382-9BA4A972C2B0}"/>
          </ac:spMkLst>
        </pc:spChg>
        <pc:spChg chg="add mod">
          <ac:chgData name="Dan Mallott" userId="dcb254b6-3083-4a8e-a95c-2824abb75bec" providerId="ADAL" clId="{EDF15544-1E4F-2C46-8CA1-28C465275CC4}" dt="2021-08-30T20:55:48.144" v="802" actId="255"/>
          <ac:spMkLst>
            <pc:docMk/>
            <pc:sldMk cId="2554077878" sldId="3907"/>
            <ac:spMk id="9" creationId="{0EC9BDC3-6EAB-A545-91CE-205EE8FB04B2}"/>
          </ac:spMkLst>
        </pc:spChg>
        <pc:spChg chg="add del mod">
          <ac:chgData name="Dan Mallott" userId="dcb254b6-3083-4a8e-a95c-2824abb75bec" providerId="ADAL" clId="{EDF15544-1E4F-2C46-8CA1-28C465275CC4}" dt="2021-08-30T20:17:17.632" v="671" actId="478"/>
          <ac:spMkLst>
            <pc:docMk/>
            <pc:sldMk cId="2554077878" sldId="3907"/>
            <ac:spMk id="10" creationId="{ED504622-3412-1342-AFEF-8B7860EAF91B}"/>
          </ac:spMkLst>
        </pc:spChg>
        <pc:spChg chg="add mod">
          <ac:chgData name="Dan Mallott" userId="dcb254b6-3083-4a8e-a95c-2824abb75bec" providerId="ADAL" clId="{EDF15544-1E4F-2C46-8CA1-28C465275CC4}" dt="2021-08-30T20:55:48.144" v="802" actId="255"/>
          <ac:spMkLst>
            <pc:docMk/>
            <pc:sldMk cId="2554077878" sldId="3907"/>
            <ac:spMk id="11" creationId="{2B5E087A-4478-D84D-9533-6AA45234B136}"/>
          </ac:spMkLst>
        </pc:spChg>
        <pc:spChg chg="add del mod">
          <ac:chgData name="Dan Mallott" userId="dcb254b6-3083-4a8e-a95c-2824abb75bec" providerId="ADAL" clId="{EDF15544-1E4F-2C46-8CA1-28C465275CC4}" dt="2021-08-30T20:17:17.632" v="671" actId="478"/>
          <ac:spMkLst>
            <pc:docMk/>
            <pc:sldMk cId="2554077878" sldId="3907"/>
            <ac:spMk id="12" creationId="{3EFDDB85-B81F-7C49-91B3-32895CF3025D}"/>
          </ac:spMkLst>
        </pc:spChg>
        <pc:spChg chg="add mod">
          <ac:chgData name="Dan Mallott" userId="dcb254b6-3083-4a8e-a95c-2824abb75bec" providerId="ADAL" clId="{EDF15544-1E4F-2C46-8CA1-28C465275CC4}" dt="2021-08-30T20:55:48.144" v="802" actId="255"/>
          <ac:spMkLst>
            <pc:docMk/>
            <pc:sldMk cId="2554077878" sldId="3907"/>
            <ac:spMk id="13" creationId="{9516FDE1-521D-BB49-9248-D8B132CF218E}"/>
          </ac:spMkLst>
        </pc:spChg>
        <pc:spChg chg="add del mod">
          <ac:chgData name="Dan Mallott" userId="dcb254b6-3083-4a8e-a95c-2824abb75bec" providerId="ADAL" clId="{EDF15544-1E4F-2C46-8CA1-28C465275CC4}" dt="2021-08-30T20:17:17.632" v="671" actId="478"/>
          <ac:spMkLst>
            <pc:docMk/>
            <pc:sldMk cId="2554077878" sldId="3907"/>
            <ac:spMk id="14" creationId="{63E6BC5B-7355-AA4A-A6D5-E5B155E33FBD}"/>
          </ac:spMkLst>
        </pc:spChg>
        <pc:spChg chg="add mod">
          <ac:chgData name="Dan Mallott" userId="dcb254b6-3083-4a8e-a95c-2824abb75bec" providerId="ADAL" clId="{EDF15544-1E4F-2C46-8CA1-28C465275CC4}" dt="2021-08-30T20:55:48.144" v="802" actId="255"/>
          <ac:spMkLst>
            <pc:docMk/>
            <pc:sldMk cId="2554077878" sldId="3907"/>
            <ac:spMk id="15" creationId="{0C6D4622-D103-7144-8506-E394D097BAD3}"/>
          </ac:spMkLst>
        </pc:spChg>
        <pc:picChg chg="add mod">
          <ac:chgData name="Dan Mallott" userId="dcb254b6-3083-4a8e-a95c-2824abb75bec" providerId="ADAL" clId="{EDF15544-1E4F-2C46-8CA1-28C465275CC4}" dt="2021-08-30T20:15:08.971" v="588" actId="1076"/>
          <ac:picMkLst>
            <pc:docMk/>
            <pc:sldMk cId="2554077878" sldId="3907"/>
            <ac:picMk id="6" creationId="{5DB1510E-45DD-934A-B2E7-AC8B8FEFA069}"/>
          </ac:picMkLst>
        </pc:picChg>
      </pc:sldChg>
      <pc:sldChg chg="addSp delSp modSp new mod">
        <pc:chgData name="Dan Mallott" userId="dcb254b6-3083-4a8e-a95c-2824abb75bec" providerId="ADAL" clId="{EDF15544-1E4F-2C46-8CA1-28C465275CC4}" dt="2021-08-31T19:14:47.795" v="1241" actId="1036"/>
        <pc:sldMkLst>
          <pc:docMk/>
          <pc:sldMk cId="3926466254" sldId="3908"/>
        </pc:sldMkLst>
        <pc:spChg chg="mod">
          <ac:chgData name="Dan Mallott" userId="dcb254b6-3083-4a8e-a95c-2824abb75bec" providerId="ADAL" clId="{EDF15544-1E4F-2C46-8CA1-28C465275CC4}" dt="2021-08-30T21:45:34.385" v="837" actId="255"/>
          <ac:spMkLst>
            <pc:docMk/>
            <pc:sldMk cId="3926466254" sldId="3908"/>
            <ac:spMk id="2" creationId="{AC00F980-8EC4-964F-AB80-B47A74B5A863}"/>
          </ac:spMkLst>
        </pc:spChg>
        <pc:spChg chg="mod">
          <ac:chgData name="Dan Mallott" userId="dcb254b6-3083-4a8e-a95c-2824abb75bec" providerId="ADAL" clId="{EDF15544-1E4F-2C46-8CA1-28C465275CC4}" dt="2021-08-30T21:51:47.643" v="920" actId="20577"/>
          <ac:spMkLst>
            <pc:docMk/>
            <pc:sldMk cId="3926466254" sldId="3908"/>
            <ac:spMk id="3" creationId="{2F2C8748-72A2-7A43-8D3A-AF2323DCCB59}"/>
          </ac:spMkLst>
        </pc:spChg>
        <pc:spChg chg="add mod">
          <ac:chgData name="Dan Mallott" userId="dcb254b6-3083-4a8e-a95c-2824abb75bec" providerId="ADAL" clId="{EDF15544-1E4F-2C46-8CA1-28C465275CC4}" dt="2021-08-31T19:00:07.574" v="1167" actId="1035"/>
          <ac:spMkLst>
            <pc:docMk/>
            <pc:sldMk cId="3926466254" sldId="3908"/>
            <ac:spMk id="5" creationId="{871455EC-2896-A74C-A9A0-B5244D1D6B5C}"/>
          </ac:spMkLst>
        </pc:spChg>
        <pc:spChg chg="add mod">
          <ac:chgData name="Dan Mallott" userId="dcb254b6-3083-4a8e-a95c-2824abb75bec" providerId="ADAL" clId="{EDF15544-1E4F-2C46-8CA1-28C465275CC4}" dt="2021-08-31T19:14:47.795" v="1241" actId="1036"/>
          <ac:spMkLst>
            <pc:docMk/>
            <pc:sldMk cId="3926466254" sldId="3908"/>
            <ac:spMk id="6" creationId="{BF2A422D-1C1A-0B41-9B1B-7ABC1EF4984C}"/>
          </ac:spMkLst>
        </pc:spChg>
        <pc:spChg chg="add mod">
          <ac:chgData name="Dan Mallott" userId="dcb254b6-3083-4a8e-a95c-2824abb75bec" providerId="ADAL" clId="{EDF15544-1E4F-2C46-8CA1-28C465275CC4}" dt="2021-08-31T19:00:28.980" v="1170" actId="1076"/>
          <ac:spMkLst>
            <pc:docMk/>
            <pc:sldMk cId="3926466254" sldId="3908"/>
            <ac:spMk id="7" creationId="{3377EC2F-3E95-F74E-8AB8-D20149586B8B}"/>
          </ac:spMkLst>
        </pc:spChg>
        <pc:spChg chg="add del mod">
          <ac:chgData name="Dan Mallott" userId="dcb254b6-3083-4a8e-a95c-2824abb75bec" providerId="ADAL" clId="{EDF15544-1E4F-2C46-8CA1-28C465275CC4}" dt="2021-08-31T19:00:21.285" v="1169" actId="478"/>
          <ac:spMkLst>
            <pc:docMk/>
            <pc:sldMk cId="3926466254" sldId="3908"/>
            <ac:spMk id="8" creationId="{66BAF88B-057D-764F-A140-C03BF5854ABB}"/>
          </ac:spMkLst>
        </pc:spChg>
        <pc:spChg chg="add del mod">
          <ac:chgData name="Dan Mallott" userId="dcb254b6-3083-4a8e-a95c-2824abb75bec" providerId="ADAL" clId="{EDF15544-1E4F-2C46-8CA1-28C465275CC4}" dt="2021-08-31T19:00:21.285" v="1169" actId="478"/>
          <ac:spMkLst>
            <pc:docMk/>
            <pc:sldMk cId="3926466254" sldId="3908"/>
            <ac:spMk id="9" creationId="{311B0B8C-9C2F-6C45-A78E-557D24677E7B}"/>
          </ac:spMkLst>
        </pc:spChg>
        <pc:spChg chg="add del mod">
          <ac:chgData name="Dan Mallott" userId="dcb254b6-3083-4a8e-a95c-2824abb75bec" providerId="ADAL" clId="{EDF15544-1E4F-2C46-8CA1-28C465275CC4}" dt="2021-08-31T19:00:21.285" v="1169" actId="478"/>
          <ac:spMkLst>
            <pc:docMk/>
            <pc:sldMk cId="3926466254" sldId="3908"/>
            <ac:spMk id="10" creationId="{D4F67AC8-484F-914B-9E98-7B11F5B9634B}"/>
          </ac:spMkLst>
        </pc:spChg>
        <pc:spChg chg="add mod">
          <ac:chgData name="Dan Mallott" userId="dcb254b6-3083-4a8e-a95c-2824abb75bec" providerId="ADAL" clId="{EDF15544-1E4F-2C46-8CA1-28C465275CC4}" dt="2021-08-31T19:00:07.574" v="1167" actId="1035"/>
          <ac:spMkLst>
            <pc:docMk/>
            <pc:sldMk cId="3926466254" sldId="3908"/>
            <ac:spMk id="11" creationId="{34235AE7-EC16-634B-8E71-1B6050E3C8D0}"/>
          </ac:spMkLst>
        </pc:spChg>
        <pc:spChg chg="add mod">
          <ac:chgData name="Dan Mallott" userId="dcb254b6-3083-4a8e-a95c-2824abb75bec" providerId="ADAL" clId="{EDF15544-1E4F-2C46-8CA1-28C465275CC4}" dt="2021-08-31T19:00:07.574" v="1167" actId="1035"/>
          <ac:spMkLst>
            <pc:docMk/>
            <pc:sldMk cId="3926466254" sldId="3908"/>
            <ac:spMk id="12" creationId="{B9852BBD-8B3C-1D4E-B569-B616A724894C}"/>
          </ac:spMkLst>
        </pc:spChg>
        <pc:spChg chg="add mod">
          <ac:chgData name="Dan Mallott" userId="dcb254b6-3083-4a8e-a95c-2824abb75bec" providerId="ADAL" clId="{EDF15544-1E4F-2C46-8CA1-28C465275CC4}" dt="2021-08-31T19:00:07.574" v="1167" actId="1035"/>
          <ac:spMkLst>
            <pc:docMk/>
            <pc:sldMk cId="3926466254" sldId="3908"/>
            <ac:spMk id="13" creationId="{7D9340B5-DC27-1C45-9790-E52C4895ED86}"/>
          </ac:spMkLst>
        </pc:spChg>
        <pc:spChg chg="add mod">
          <ac:chgData name="Dan Mallott" userId="dcb254b6-3083-4a8e-a95c-2824abb75bec" providerId="ADAL" clId="{EDF15544-1E4F-2C46-8CA1-28C465275CC4}" dt="2021-08-31T19:00:07.574" v="1167" actId="1035"/>
          <ac:spMkLst>
            <pc:docMk/>
            <pc:sldMk cId="3926466254" sldId="3908"/>
            <ac:spMk id="14" creationId="{4DBA9F42-0CC1-2741-9302-CE7CDDB73FB7}"/>
          </ac:spMkLst>
        </pc:spChg>
        <pc:spChg chg="add mod">
          <ac:chgData name="Dan Mallott" userId="dcb254b6-3083-4a8e-a95c-2824abb75bec" providerId="ADAL" clId="{EDF15544-1E4F-2C46-8CA1-28C465275CC4}" dt="2021-08-31T19:00:07.574" v="1167" actId="1035"/>
          <ac:spMkLst>
            <pc:docMk/>
            <pc:sldMk cId="3926466254" sldId="3908"/>
            <ac:spMk id="15" creationId="{DF953326-3AD5-6844-9AFD-59B458682339}"/>
          </ac:spMkLst>
        </pc:spChg>
        <pc:spChg chg="add mod">
          <ac:chgData name="Dan Mallott" userId="dcb254b6-3083-4a8e-a95c-2824abb75bec" providerId="ADAL" clId="{EDF15544-1E4F-2C46-8CA1-28C465275CC4}" dt="2021-08-31T19:00:07.574" v="1167" actId="1035"/>
          <ac:spMkLst>
            <pc:docMk/>
            <pc:sldMk cId="3926466254" sldId="3908"/>
            <ac:spMk id="16" creationId="{7C979F35-3C94-4C4F-B620-41B1DBBE144C}"/>
          </ac:spMkLst>
        </pc:spChg>
        <pc:picChg chg="add mod">
          <ac:chgData name="Dan Mallott" userId="dcb254b6-3083-4a8e-a95c-2824abb75bec" providerId="ADAL" clId="{EDF15544-1E4F-2C46-8CA1-28C465275CC4}" dt="2021-08-31T19:04:42.406" v="1175" actId="1076"/>
          <ac:picMkLst>
            <pc:docMk/>
            <pc:sldMk cId="3926466254" sldId="3908"/>
            <ac:picMk id="18" creationId="{446AC26F-1556-8041-B0E3-7B1780C03F79}"/>
          </ac:picMkLst>
        </pc:picChg>
      </pc:sldChg>
      <pc:sldChg chg="addSp modSp new mod">
        <pc:chgData name="Dan Mallott" userId="dcb254b6-3083-4a8e-a95c-2824abb75bec" providerId="ADAL" clId="{EDF15544-1E4F-2C46-8CA1-28C465275CC4}" dt="2021-08-31T19:14:36.752" v="1235" actId="1076"/>
        <pc:sldMkLst>
          <pc:docMk/>
          <pc:sldMk cId="2997907360" sldId="3909"/>
        </pc:sldMkLst>
        <pc:spChg chg="mod">
          <ac:chgData name="Dan Mallott" userId="dcb254b6-3083-4a8e-a95c-2824abb75bec" providerId="ADAL" clId="{EDF15544-1E4F-2C46-8CA1-28C465275CC4}" dt="2021-08-31T19:14:03.685" v="1229" actId="255"/>
          <ac:spMkLst>
            <pc:docMk/>
            <pc:sldMk cId="2997907360" sldId="3909"/>
            <ac:spMk id="2" creationId="{319F7EC0-F5B5-5B41-8DF8-29246F8D28FF}"/>
          </ac:spMkLst>
        </pc:spChg>
        <pc:spChg chg="mod">
          <ac:chgData name="Dan Mallott" userId="dcb254b6-3083-4a8e-a95c-2824abb75bec" providerId="ADAL" clId="{EDF15544-1E4F-2C46-8CA1-28C465275CC4}" dt="2021-08-31T19:13:49.388" v="1191" actId="20577"/>
          <ac:spMkLst>
            <pc:docMk/>
            <pc:sldMk cId="2997907360" sldId="3909"/>
            <ac:spMk id="3" creationId="{D62AE12E-610C-2442-B513-79C516CC0FE3}"/>
          </ac:spMkLst>
        </pc:spChg>
        <pc:picChg chg="add mod">
          <ac:chgData name="Dan Mallott" userId="dcb254b6-3083-4a8e-a95c-2824abb75bec" providerId="ADAL" clId="{EDF15544-1E4F-2C46-8CA1-28C465275CC4}" dt="2021-08-31T19:14:36.752" v="1235" actId="1076"/>
          <ac:picMkLst>
            <pc:docMk/>
            <pc:sldMk cId="2997907360" sldId="3909"/>
            <ac:picMk id="6" creationId="{AD682A1A-E4F3-F147-99C6-4878A9F1C43D}"/>
          </ac:picMkLst>
        </pc:picChg>
      </pc:sldChg>
      <pc:sldChg chg="addSp delSp modSp new mod modClrScheme chgLayout">
        <pc:chgData name="Dan Mallott" userId="dcb254b6-3083-4a8e-a95c-2824abb75bec" providerId="ADAL" clId="{EDF15544-1E4F-2C46-8CA1-28C465275CC4}" dt="2021-08-31T19:34:54.665" v="1295" actId="20577"/>
        <pc:sldMkLst>
          <pc:docMk/>
          <pc:sldMk cId="2153747315" sldId="3910"/>
        </pc:sldMkLst>
        <pc:spChg chg="del">
          <ac:chgData name="Dan Mallott" userId="dcb254b6-3083-4a8e-a95c-2824abb75bec" providerId="ADAL" clId="{EDF15544-1E4F-2C46-8CA1-28C465275CC4}" dt="2021-08-31T19:34:25.931" v="1243" actId="700"/>
          <ac:spMkLst>
            <pc:docMk/>
            <pc:sldMk cId="2153747315" sldId="3910"/>
            <ac:spMk id="2" creationId="{47684629-084E-C348-95DE-5100B5470A62}"/>
          </ac:spMkLst>
        </pc:spChg>
        <pc:spChg chg="del mod ord">
          <ac:chgData name="Dan Mallott" userId="dcb254b6-3083-4a8e-a95c-2824abb75bec" providerId="ADAL" clId="{EDF15544-1E4F-2C46-8CA1-28C465275CC4}" dt="2021-08-31T19:34:25.931" v="1243" actId="700"/>
          <ac:spMkLst>
            <pc:docMk/>
            <pc:sldMk cId="2153747315" sldId="3910"/>
            <ac:spMk id="3" creationId="{14DB033D-7A57-9449-BEBD-59CE07BF7DC0}"/>
          </ac:spMkLst>
        </pc:spChg>
        <pc:spChg chg="mod ord">
          <ac:chgData name="Dan Mallott" userId="dcb254b6-3083-4a8e-a95c-2824abb75bec" providerId="ADAL" clId="{EDF15544-1E4F-2C46-8CA1-28C465275CC4}" dt="2021-08-31T19:34:25.931" v="1243" actId="700"/>
          <ac:spMkLst>
            <pc:docMk/>
            <pc:sldMk cId="2153747315" sldId="3910"/>
            <ac:spMk id="4" creationId="{8CF5921E-6793-1E49-B5C1-9E45EF0424C4}"/>
          </ac:spMkLst>
        </pc:spChg>
        <pc:spChg chg="add mod ord">
          <ac:chgData name="Dan Mallott" userId="dcb254b6-3083-4a8e-a95c-2824abb75bec" providerId="ADAL" clId="{EDF15544-1E4F-2C46-8CA1-28C465275CC4}" dt="2021-08-31T19:34:54.665" v="1295" actId="20577"/>
          <ac:spMkLst>
            <pc:docMk/>
            <pc:sldMk cId="2153747315" sldId="3910"/>
            <ac:spMk id="5" creationId="{9BA50CED-16EF-4C45-9B1A-D36AB7D39B55}"/>
          </ac:spMkLst>
        </pc:spChg>
      </pc:sldChg>
      <pc:sldChg chg="addSp delSp modSp new mod modClrScheme chgLayout">
        <pc:chgData name="Dan Mallott" userId="dcb254b6-3083-4a8e-a95c-2824abb75bec" providerId="ADAL" clId="{EDF15544-1E4F-2C46-8CA1-28C465275CC4}" dt="2021-09-08T19:48:33.367" v="7739" actId="1036"/>
        <pc:sldMkLst>
          <pc:docMk/>
          <pc:sldMk cId="256984628" sldId="3911"/>
        </pc:sldMkLst>
        <pc:spChg chg="del mod ord">
          <ac:chgData name="Dan Mallott" userId="dcb254b6-3083-4a8e-a95c-2824abb75bec" providerId="ADAL" clId="{EDF15544-1E4F-2C46-8CA1-28C465275CC4}" dt="2021-09-01T20:26:52.075" v="1297" actId="700"/>
          <ac:spMkLst>
            <pc:docMk/>
            <pc:sldMk cId="256984628" sldId="3911"/>
            <ac:spMk id="2" creationId="{0ED2BB6A-9CB2-D84E-89A1-41830F1B86DC}"/>
          </ac:spMkLst>
        </pc:spChg>
        <pc:spChg chg="mod ord">
          <ac:chgData name="Dan Mallott" userId="dcb254b6-3083-4a8e-a95c-2824abb75bec" providerId="ADAL" clId="{EDF15544-1E4F-2C46-8CA1-28C465275CC4}" dt="2021-09-01T20:26:52.075" v="1297" actId="700"/>
          <ac:spMkLst>
            <pc:docMk/>
            <pc:sldMk cId="256984628" sldId="3911"/>
            <ac:spMk id="3" creationId="{3E9E9C44-B204-3542-BD66-DB8D858006A6}"/>
          </ac:spMkLst>
        </pc:spChg>
        <pc:spChg chg="add mod ord">
          <ac:chgData name="Dan Mallott" userId="dcb254b6-3083-4a8e-a95c-2824abb75bec" providerId="ADAL" clId="{EDF15544-1E4F-2C46-8CA1-28C465275CC4}" dt="2021-09-07T14:33:15.144" v="2085" actId="20577"/>
          <ac:spMkLst>
            <pc:docMk/>
            <pc:sldMk cId="256984628" sldId="3911"/>
            <ac:spMk id="4" creationId="{1459FFB1-7F35-6F48-BD99-5BDAA7CB288E}"/>
          </ac:spMkLst>
        </pc:spChg>
        <pc:spChg chg="add mod ord">
          <ac:chgData name="Dan Mallott" userId="dcb254b6-3083-4a8e-a95c-2824abb75bec" providerId="ADAL" clId="{EDF15544-1E4F-2C46-8CA1-28C465275CC4}" dt="2021-09-07T14:33:24.391" v="2094" actId="20577"/>
          <ac:spMkLst>
            <pc:docMk/>
            <pc:sldMk cId="256984628" sldId="3911"/>
            <ac:spMk id="5" creationId="{8BF34900-AAD9-1149-B7F3-1F0DA05F0EFE}"/>
          </ac:spMkLst>
        </pc:spChg>
        <pc:spChg chg="add mod ord">
          <ac:chgData name="Dan Mallott" userId="dcb254b6-3083-4a8e-a95c-2824abb75bec" providerId="ADAL" clId="{EDF15544-1E4F-2C46-8CA1-28C465275CC4}" dt="2021-09-01T20:26:57.275" v="1314" actId="20577"/>
          <ac:spMkLst>
            <pc:docMk/>
            <pc:sldMk cId="256984628" sldId="3911"/>
            <ac:spMk id="6" creationId="{8D30F82C-59A4-3F42-955F-28BE1EAC3C32}"/>
          </ac:spMkLst>
        </pc:spChg>
        <pc:picChg chg="add mod">
          <ac:chgData name="Dan Mallott" userId="dcb254b6-3083-4a8e-a95c-2824abb75bec" providerId="ADAL" clId="{EDF15544-1E4F-2C46-8CA1-28C465275CC4}" dt="2021-09-07T14:31:07.423" v="2051" actId="14100"/>
          <ac:picMkLst>
            <pc:docMk/>
            <pc:sldMk cId="256984628" sldId="3911"/>
            <ac:picMk id="8" creationId="{57941780-C01A-B54A-BD0F-805226DB5A9D}"/>
          </ac:picMkLst>
        </pc:picChg>
        <pc:picChg chg="add mod">
          <ac:chgData name="Dan Mallott" userId="dcb254b6-3083-4a8e-a95c-2824abb75bec" providerId="ADAL" clId="{EDF15544-1E4F-2C46-8CA1-28C465275CC4}" dt="2021-09-08T19:48:33.367" v="7739" actId="1036"/>
          <ac:picMkLst>
            <pc:docMk/>
            <pc:sldMk cId="256984628" sldId="3911"/>
            <ac:picMk id="10" creationId="{10AD7256-B000-0D41-A806-9EDFEA33E7B3}"/>
          </ac:picMkLst>
        </pc:picChg>
      </pc:sldChg>
      <pc:sldChg chg="addSp delSp modSp new mod">
        <pc:chgData name="Dan Mallott" userId="dcb254b6-3083-4a8e-a95c-2824abb75bec" providerId="ADAL" clId="{EDF15544-1E4F-2C46-8CA1-28C465275CC4}" dt="2021-09-07T16:07:51.772" v="3527" actId="2711"/>
        <pc:sldMkLst>
          <pc:docMk/>
          <pc:sldMk cId="2436923074" sldId="3912"/>
        </pc:sldMkLst>
        <pc:spChg chg="mod">
          <ac:chgData name="Dan Mallott" userId="dcb254b6-3083-4a8e-a95c-2824abb75bec" providerId="ADAL" clId="{EDF15544-1E4F-2C46-8CA1-28C465275CC4}" dt="2021-09-07T14:10:27.025" v="1413" actId="255"/>
          <ac:spMkLst>
            <pc:docMk/>
            <pc:sldMk cId="2436923074" sldId="3912"/>
            <ac:spMk id="2" creationId="{3F54F0C4-B4B6-1843-BD33-F23317B1C47C}"/>
          </ac:spMkLst>
        </pc:spChg>
        <pc:spChg chg="del">
          <ac:chgData name="Dan Mallott" userId="dcb254b6-3083-4a8e-a95c-2824abb75bec" providerId="ADAL" clId="{EDF15544-1E4F-2C46-8CA1-28C465275CC4}" dt="2021-09-07T14:10:31.536" v="1414" actId="478"/>
          <ac:spMkLst>
            <pc:docMk/>
            <pc:sldMk cId="2436923074" sldId="3912"/>
            <ac:spMk id="3" creationId="{5F54F4CD-5FFD-8A4F-A75C-0C5166801066}"/>
          </ac:spMkLst>
        </pc:spChg>
        <pc:spChg chg="mod">
          <ac:chgData name="Dan Mallott" userId="dcb254b6-3083-4a8e-a95c-2824abb75bec" providerId="ADAL" clId="{EDF15544-1E4F-2C46-8CA1-28C465275CC4}" dt="2021-09-07T14:10:03.783" v="1374" actId="20577"/>
          <ac:spMkLst>
            <pc:docMk/>
            <pc:sldMk cId="2436923074" sldId="3912"/>
            <ac:spMk id="4" creationId="{4C4672FC-A36F-AA46-997F-6D2D414BFE3B}"/>
          </ac:spMkLst>
        </pc:spChg>
        <pc:spChg chg="mod">
          <ac:chgData name="Dan Mallott" userId="dcb254b6-3083-4a8e-a95c-2824abb75bec" providerId="ADAL" clId="{EDF15544-1E4F-2C46-8CA1-28C465275CC4}" dt="2021-09-07T14:10:55.048" v="1415"/>
          <ac:spMkLst>
            <pc:docMk/>
            <pc:sldMk cId="2436923074" sldId="3912"/>
            <ac:spMk id="7" creationId="{1D51D578-E852-1540-AD1B-47E21B87E9DE}"/>
          </ac:spMkLst>
        </pc:spChg>
        <pc:spChg chg="mod">
          <ac:chgData name="Dan Mallott" userId="dcb254b6-3083-4a8e-a95c-2824abb75bec" providerId="ADAL" clId="{EDF15544-1E4F-2C46-8CA1-28C465275CC4}" dt="2021-09-07T14:10:55.048" v="1415"/>
          <ac:spMkLst>
            <pc:docMk/>
            <pc:sldMk cId="2436923074" sldId="3912"/>
            <ac:spMk id="8" creationId="{201B3C43-1DBF-674F-973E-CD010816A970}"/>
          </ac:spMkLst>
        </pc:spChg>
        <pc:spChg chg="mod">
          <ac:chgData name="Dan Mallott" userId="dcb254b6-3083-4a8e-a95c-2824abb75bec" providerId="ADAL" clId="{EDF15544-1E4F-2C46-8CA1-28C465275CC4}" dt="2021-09-07T14:10:55.048" v="1415"/>
          <ac:spMkLst>
            <pc:docMk/>
            <pc:sldMk cId="2436923074" sldId="3912"/>
            <ac:spMk id="9" creationId="{15F299F0-DFF4-9742-BF32-F7543A3BA057}"/>
          </ac:spMkLst>
        </pc:spChg>
        <pc:spChg chg="mod">
          <ac:chgData name="Dan Mallott" userId="dcb254b6-3083-4a8e-a95c-2824abb75bec" providerId="ADAL" clId="{EDF15544-1E4F-2C46-8CA1-28C465275CC4}" dt="2021-09-07T14:10:55.048" v="1415"/>
          <ac:spMkLst>
            <pc:docMk/>
            <pc:sldMk cId="2436923074" sldId="3912"/>
            <ac:spMk id="10" creationId="{83728B10-86EF-A84B-A145-0234164861AF}"/>
          </ac:spMkLst>
        </pc:spChg>
        <pc:spChg chg="mod">
          <ac:chgData name="Dan Mallott" userId="dcb254b6-3083-4a8e-a95c-2824abb75bec" providerId="ADAL" clId="{EDF15544-1E4F-2C46-8CA1-28C465275CC4}" dt="2021-09-07T14:10:55.048" v="1415"/>
          <ac:spMkLst>
            <pc:docMk/>
            <pc:sldMk cId="2436923074" sldId="3912"/>
            <ac:spMk id="11" creationId="{EFE208C9-63E9-3146-9619-313EC149ADF6}"/>
          </ac:spMkLst>
        </pc:spChg>
        <pc:spChg chg="add del mod">
          <ac:chgData name="Dan Mallott" userId="dcb254b6-3083-4a8e-a95c-2824abb75bec" providerId="ADAL" clId="{EDF15544-1E4F-2C46-8CA1-28C465275CC4}" dt="2021-09-07T14:10:58.987" v="1416"/>
          <ac:spMkLst>
            <pc:docMk/>
            <pc:sldMk cId="2436923074" sldId="3912"/>
            <ac:spMk id="12" creationId="{C841CF10-6E2E-2441-B658-D2D3B276F4D2}"/>
          </ac:spMkLst>
        </pc:spChg>
        <pc:spChg chg="add del mod">
          <ac:chgData name="Dan Mallott" userId="dcb254b6-3083-4a8e-a95c-2824abb75bec" providerId="ADAL" clId="{EDF15544-1E4F-2C46-8CA1-28C465275CC4}" dt="2021-09-07T14:10:58.987" v="1416"/>
          <ac:spMkLst>
            <pc:docMk/>
            <pc:sldMk cId="2436923074" sldId="3912"/>
            <ac:spMk id="13" creationId="{A7985B57-3B46-AF44-A756-06E186987E4D}"/>
          </ac:spMkLst>
        </pc:spChg>
        <pc:spChg chg="add del mod">
          <ac:chgData name="Dan Mallott" userId="dcb254b6-3083-4a8e-a95c-2824abb75bec" providerId="ADAL" clId="{EDF15544-1E4F-2C46-8CA1-28C465275CC4}" dt="2021-09-07T14:10:58.987" v="1416"/>
          <ac:spMkLst>
            <pc:docMk/>
            <pc:sldMk cId="2436923074" sldId="3912"/>
            <ac:spMk id="14" creationId="{92935DFD-0A63-8448-AA99-D286BADE1D48}"/>
          </ac:spMkLst>
        </pc:spChg>
        <pc:spChg chg="mod">
          <ac:chgData name="Dan Mallott" userId="dcb254b6-3083-4a8e-a95c-2824abb75bec" providerId="ADAL" clId="{EDF15544-1E4F-2C46-8CA1-28C465275CC4}" dt="2021-09-07T14:12:18.266" v="1442" actId="14100"/>
          <ac:spMkLst>
            <pc:docMk/>
            <pc:sldMk cId="2436923074" sldId="3912"/>
            <ac:spMk id="16" creationId="{DB55E50D-FACB-0C49-956A-73D06DC1F4BE}"/>
          </ac:spMkLst>
        </pc:spChg>
        <pc:spChg chg="mod">
          <ac:chgData name="Dan Mallott" userId="dcb254b6-3083-4a8e-a95c-2824abb75bec" providerId="ADAL" clId="{EDF15544-1E4F-2C46-8CA1-28C465275CC4}" dt="2021-09-07T14:12:18.266" v="1442" actId="14100"/>
          <ac:spMkLst>
            <pc:docMk/>
            <pc:sldMk cId="2436923074" sldId="3912"/>
            <ac:spMk id="17" creationId="{7972FC02-52ED-1449-87D3-6672C3E702E6}"/>
          </ac:spMkLst>
        </pc:spChg>
        <pc:spChg chg="mod">
          <ac:chgData name="Dan Mallott" userId="dcb254b6-3083-4a8e-a95c-2824abb75bec" providerId="ADAL" clId="{EDF15544-1E4F-2C46-8CA1-28C465275CC4}" dt="2021-09-07T14:12:18.266" v="1442" actId="14100"/>
          <ac:spMkLst>
            <pc:docMk/>
            <pc:sldMk cId="2436923074" sldId="3912"/>
            <ac:spMk id="18" creationId="{EBB73A96-DDA7-D843-92DA-01A5358CD6DF}"/>
          </ac:spMkLst>
        </pc:spChg>
        <pc:spChg chg="mod">
          <ac:chgData name="Dan Mallott" userId="dcb254b6-3083-4a8e-a95c-2824abb75bec" providerId="ADAL" clId="{EDF15544-1E4F-2C46-8CA1-28C465275CC4}" dt="2021-09-07T14:12:18.266" v="1442" actId="14100"/>
          <ac:spMkLst>
            <pc:docMk/>
            <pc:sldMk cId="2436923074" sldId="3912"/>
            <ac:spMk id="19" creationId="{36FC11ED-D67B-3D4B-9AF1-E05D86047084}"/>
          </ac:spMkLst>
        </pc:spChg>
        <pc:spChg chg="mod">
          <ac:chgData name="Dan Mallott" userId="dcb254b6-3083-4a8e-a95c-2824abb75bec" providerId="ADAL" clId="{EDF15544-1E4F-2C46-8CA1-28C465275CC4}" dt="2021-09-07T14:12:18.266" v="1442" actId="14100"/>
          <ac:spMkLst>
            <pc:docMk/>
            <pc:sldMk cId="2436923074" sldId="3912"/>
            <ac:spMk id="20" creationId="{54C08F5D-3C09-E442-9D15-8CA85A80D8BF}"/>
          </ac:spMkLst>
        </pc:spChg>
        <pc:spChg chg="add mod">
          <ac:chgData name="Dan Mallott" userId="dcb254b6-3083-4a8e-a95c-2824abb75bec" providerId="ADAL" clId="{EDF15544-1E4F-2C46-8CA1-28C465275CC4}" dt="2021-09-07T16:07:51.772" v="3527" actId="2711"/>
          <ac:spMkLst>
            <pc:docMk/>
            <pc:sldMk cId="2436923074" sldId="3912"/>
            <ac:spMk id="21" creationId="{3DBC7201-E167-3342-87CC-CFDBF4FA7F29}"/>
          </ac:spMkLst>
        </pc:spChg>
        <pc:spChg chg="add mod">
          <ac:chgData name="Dan Mallott" userId="dcb254b6-3083-4a8e-a95c-2824abb75bec" providerId="ADAL" clId="{EDF15544-1E4F-2C46-8CA1-28C465275CC4}" dt="2021-09-07T16:07:43.535" v="3526" actId="2711"/>
          <ac:spMkLst>
            <pc:docMk/>
            <pc:sldMk cId="2436923074" sldId="3912"/>
            <ac:spMk id="22" creationId="{00703253-E83A-C24E-8FA2-36FA1D8E377E}"/>
          </ac:spMkLst>
        </pc:spChg>
        <pc:spChg chg="add mod">
          <ac:chgData name="Dan Mallott" userId="dcb254b6-3083-4a8e-a95c-2824abb75bec" providerId="ADAL" clId="{EDF15544-1E4F-2C46-8CA1-28C465275CC4}" dt="2021-09-07T14:11:13.520" v="1417"/>
          <ac:spMkLst>
            <pc:docMk/>
            <pc:sldMk cId="2436923074" sldId="3912"/>
            <ac:spMk id="23" creationId="{BF4693AC-2E2E-B64C-B8B0-912F794BF0F8}"/>
          </ac:spMkLst>
        </pc:spChg>
        <pc:spChg chg="add mod">
          <ac:chgData name="Dan Mallott" userId="dcb254b6-3083-4a8e-a95c-2824abb75bec" providerId="ADAL" clId="{EDF15544-1E4F-2C46-8CA1-28C465275CC4}" dt="2021-09-07T14:12:52.857" v="1453" actId="20577"/>
          <ac:spMkLst>
            <pc:docMk/>
            <pc:sldMk cId="2436923074" sldId="3912"/>
            <ac:spMk id="24" creationId="{A991C49F-2FF4-DE49-BF33-A1D93248D2C6}"/>
          </ac:spMkLst>
        </pc:spChg>
        <pc:spChg chg="add mod">
          <ac:chgData name="Dan Mallott" userId="dcb254b6-3083-4a8e-a95c-2824abb75bec" providerId="ADAL" clId="{EDF15544-1E4F-2C46-8CA1-28C465275CC4}" dt="2021-09-07T14:12:49.132" v="1451" actId="20577"/>
          <ac:spMkLst>
            <pc:docMk/>
            <pc:sldMk cId="2436923074" sldId="3912"/>
            <ac:spMk id="25" creationId="{5A2594E2-DB4B-3F4D-813C-6451106AFB3E}"/>
          </ac:spMkLst>
        </pc:spChg>
        <pc:grpChg chg="add del mod">
          <ac:chgData name="Dan Mallott" userId="dcb254b6-3083-4a8e-a95c-2824abb75bec" providerId="ADAL" clId="{EDF15544-1E4F-2C46-8CA1-28C465275CC4}" dt="2021-09-07T14:10:58.987" v="1416"/>
          <ac:grpSpMkLst>
            <pc:docMk/>
            <pc:sldMk cId="2436923074" sldId="3912"/>
            <ac:grpSpMk id="6" creationId="{7712B58B-DE5F-5547-A432-169089679F2A}"/>
          </ac:grpSpMkLst>
        </pc:grpChg>
        <pc:grpChg chg="add mod">
          <ac:chgData name="Dan Mallott" userId="dcb254b6-3083-4a8e-a95c-2824abb75bec" providerId="ADAL" clId="{EDF15544-1E4F-2C46-8CA1-28C465275CC4}" dt="2021-09-07T14:12:18.266" v="1442" actId="14100"/>
          <ac:grpSpMkLst>
            <pc:docMk/>
            <pc:sldMk cId="2436923074" sldId="3912"/>
            <ac:grpSpMk id="15" creationId="{1CC57CE2-F577-3944-8E6C-9FCA733A789E}"/>
          </ac:grpSpMkLst>
        </pc:grpChg>
      </pc:sldChg>
      <pc:sldChg chg="addSp delSp modSp new del mod">
        <pc:chgData name="Dan Mallott" userId="dcb254b6-3083-4a8e-a95c-2824abb75bec" providerId="ADAL" clId="{EDF15544-1E4F-2C46-8CA1-28C465275CC4}" dt="2021-09-07T14:42:33.974" v="2319" actId="2696"/>
        <pc:sldMkLst>
          <pc:docMk/>
          <pc:sldMk cId="2210274858" sldId="3913"/>
        </pc:sldMkLst>
        <pc:spChg chg="mod">
          <ac:chgData name="Dan Mallott" userId="dcb254b6-3083-4a8e-a95c-2824abb75bec" providerId="ADAL" clId="{EDF15544-1E4F-2C46-8CA1-28C465275CC4}" dt="2021-09-07T14:39:05.407" v="2160" actId="20577"/>
          <ac:spMkLst>
            <pc:docMk/>
            <pc:sldMk cId="2210274858" sldId="3913"/>
            <ac:spMk id="2" creationId="{CA5F05DA-178C-3C44-BA1C-3D8D465A36C6}"/>
          </ac:spMkLst>
        </pc:spChg>
        <pc:spChg chg="del">
          <ac:chgData name="Dan Mallott" userId="dcb254b6-3083-4a8e-a95c-2824abb75bec" providerId="ADAL" clId="{EDF15544-1E4F-2C46-8CA1-28C465275CC4}" dt="2021-09-07T14:38:28.066" v="2134" actId="478"/>
          <ac:spMkLst>
            <pc:docMk/>
            <pc:sldMk cId="2210274858" sldId="3913"/>
            <ac:spMk id="3" creationId="{37E36513-CE7E-3542-BEA0-30DB71CA3ED8}"/>
          </ac:spMkLst>
        </pc:spChg>
        <pc:spChg chg="mod">
          <ac:chgData name="Dan Mallott" userId="dcb254b6-3083-4a8e-a95c-2824abb75bec" providerId="ADAL" clId="{EDF15544-1E4F-2C46-8CA1-28C465275CC4}" dt="2021-09-07T14:38:16.177" v="2126" actId="20577"/>
          <ac:spMkLst>
            <pc:docMk/>
            <pc:sldMk cId="2210274858" sldId="3913"/>
            <ac:spMk id="4" creationId="{7ECED27C-C69C-9D43-B8D5-B1267057954D}"/>
          </ac:spMkLst>
        </pc:spChg>
        <pc:picChg chg="add mod">
          <ac:chgData name="Dan Mallott" userId="dcb254b6-3083-4a8e-a95c-2824abb75bec" providerId="ADAL" clId="{EDF15544-1E4F-2C46-8CA1-28C465275CC4}" dt="2021-09-07T14:38:53.489" v="2139" actId="1076"/>
          <ac:picMkLst>
            <pc:docMk/>
            <pc:sldMk cId="2210274858" sldId="3913"/>
            <ac:picMk id="7" creationId="{5EE31598-EAA5-324F-B958-3E6CD76AE458}"/>
          </ac:picMkLst>
        </pc:picChg>
      </pc:sldChg>
      <pc:sldChg chg="addSp modSp new mod">
        <pc:chgData name="Dan Mallott" userId="dcb254b6-3083-4a8e-a95c-2824abb75bec" providerId="ADAL" clId="{EDF15544-1E4F-2C46-8CA1-28C465275CC4}" dt="2021-09-07T14:46:04.304" v="2333" actId="20577"/>
        <pc:sldMkLst>
          <pc:docMk/>
          <pc:sldMk cId="2323546587" sldId="3914"/>
        </pc:sldMkLst>
        <pc:spChg chg="mod">
          <ac:chgData name="Dan Mallott" userId="dcb254b6-3083-4a8e-a95c-2824abb75bec" providerId="ADAL" clId="{EDF15544-1E4F-2C46-8CA1-28C465275CC4}" dt="2021-09-07T14:42:13.293" v="2315" actId="255"/>
          <ac:spMkLst>
            <pc:docMk/>
            <pc:sldMk cId="2323546587" sldId="3914"/>
            <ac:spMk id="2" creationId="{BC8E7684-AFEA-D14D-9390-D48BBB1B1B2B}"/>
          </ac:spMkLst>
        </pc:spChg>
        <pc:spChg chg="mod">
          <ac:chgData name="Dan Mallott" userId="dcb254b6-3083-4a8e-a95c-2824abb75bec" providerId="ADAL" clId="{EDF15544-1E4F-2C46-8CA1-28C465275CC4}" dt="2021-09-07T14:46:04.304" v="2333" actId="20577"/>
          <ac:spMkLst>
            <pc:docMk/>
            <pc:sldMk cId="2323546587" sldId="3914"/>
            <ac:spMk id="3" creationId="{0564F3B9-7DEF-C04C-870F-E1A2C46E0F0F}"/>
          </ac:spMkLst>
        </pc:spChg>
        <pc:spChg chg="mod">
          <ac:chgData name="Dan Mallott" userId="dcb254b6-3083-4a8e-a95c-2824abb75bec" providerId="ADAL" clId="{EDF15544-1E4F-2C46-8CA1-28C465275CC4}" dt="2021-09-07T14:41:11.824" v="2178" actId="20577"/>
          <ac:spMkLst>
            <pc:docMk/>
            <pc:sldMk cId="2323546587" sldId="3914"/>
            <ac:spMk id="4" creationId="{B0B4810A-0AD8-4342-AF20-7452ACADEDB8}"/>
          </ac:spMkLst>
        </pc:spChg>
        <pc:picChg chg="add mod">
          <ac:chgData name="Dan Mallott" userId="dcb254b6-3083-4a8e-a95c-2824abb75bec" providerId="ADAL" clId="{EDF15544-1E4F-2C46-8CA1-28C465275CC4}" dt="2021-09-07T14:42:08.579" v="2314" actId="1076"/>
          <ac:picMkLst>
            <pc:docMk/>
            <pc:sldMk cId="2323546587" sldId="3914"/>
            <ac:picMk id="7" creationId="{4AF2A01F-C851-324E-B001-66CCB3066153}"/>
          </ac:picMkLst>
        </pc:picChg>
        <pc:picChg chg="add mod">
          <ac:chgData name="Dan Mallott" userId="dcb254b6-3083-4a8e-a95c-2824abb75bec" providerId="ADAL" clId="{EDF15544-1E4F-2C46-8CA1-28C465275CC4}" dt="2021-09-07T14:42:40.707" v="2326" actId="1036"/>
          <ac:picMkLst>
            <pc:docMk/>
            <pc:sldMk cId="2323546587" sldId="3914"/>
            <ac:picMk id="8" creationId="{41C7A7C8-EEE4-2249-A9D8-3D6509C83EF0}"/>
          </ac:picMkLst>
        </pc:picChg>
      </pc:sldChg>
      <pc:sldChg chg="addSp modSp new mod">
        <pc:chgData name="Dan Mallott" userId="dcb254b6-3083-4a8e-a95c-2824abb75bec" providerId="ADAL" clId="{EDF15544-1E4F-2C46-8CA1-28C465275CC4}" dt="2021-09-07T15:47:26.642" v="3249" actId="1036"/>
        <pc:sldMkLst>
          <pc:docMk/>
          <pc:sldMk cId="2345903428" sldId="3915"/>
        </pc:sldMkLst>
        <pc:spChg chg="mod">
          <ac:chgData name="Dan Mallott" userId="dcb254b6-3083-4a8e-a95c-2824abb75bec" providerId="ADAL" clId="{EDF15544-1E4F-2C46-8CA1-28C465275CC4}" dt="2021-09-07T14:53:41.373" v="2412" actId="20577"/>
          <ac:spMkLst>
            <pc:docMk/>
            <pc:sldMk cId="2345903428" sldId="3915"/>
            <ac:spMk id="2" creationId="{5C69AD2E-C7FF-7048-894D-31750FDD585A}"/>
          </ac:spMkLst>
        </pc:spChg>
        <pc:spChg chg="mod">
          <ac:chgData name="Dan Mallott" userId="dcb254b6-3083-4a8e-a95c-2824abb75bec" providerId="ADAL" clId="{EDF15544-1E4F-2C46-8CA1-28C465275CC4}" dt="2021-09-07T15:36:01.250" v="3227" actId="6549"/>
          <ac:spMkLst>
            <pc:docMk/>
            <pc:sldMk cId="2345903428" sldId="3915"/>
            <ac:spMk id="3" creationId="{04AE12BB-70B0-5B47-BD12-BA416A6B6AE4}"/>
          </ac:spMkLst>
        </pc:spChg>
        <pc:spChg chg="mod">
          <ac:chgData name="Dan Mallott" userId="dcb254b6-3083-4a8e-a95c-2824abb75bec" providerId="ADAL" clId="{EDF15544-1E4F-2C46-8CA1-28C465275CC4}" dt="2021-09-07T14:53:15.721" v="2361" actId="20577"/>
          <ac:spMkLst>
            <pc:docMk/>
            <pc:sldMk cId="2345903428" sldId="3915"/>
            <ac:spMk id="4" creationId="{222234BF-D682-2B4A-9FD9-C65B755D095F}"/>
          </ac:spMkLst>
        </pc:spChg>
        <pc:spChg chg="mod">
          <ac:chgData name="Dan Mallott" userId="dcb254b6-3083-4a8e-a95c-2824abb75bec" providerId="ADAL" clId="{EDF15544-1E4F-2C46-8CA1-28C465275CC4}" dt="2021-09-07T14:58:18.061" v="2706" actId="20577"/>
          <ac:spMkLst>
            <pc:docMk/>
            <pc:sldMk cId="2345903428" sldId="3915"/>
            <ac:spMk id="7" creationId="{00D9E09C-31EF-9042-9384-42FB30418B51}"/>
          </ac:spMkLst>
        </pc:spChg>
        <pc:spChg chg="mod">
          <ac:chgData name="Dan Mallott" userId="dcb254b6-3083-4a8e-a95c-2824abb75bec" providerId="ADAL" clId="{EDF15544-1E4F-2C46-8CA1-28C465275CC4}" dt="2021-09-07T14:53:50.807" v="2414"/>
          <ac:spMkLst>
            <pc:docMk/>
            <pc:sldMk cId="2345903428" sldId="3915"/>
            <ac:spMk id="8" creationId="{32D4CDD4-2F28-6546-952D-1CCF5E3FD1A6}"/>
          </ac:spMkLst>
        </pc:spChg>
        <pc:spChg chg="mod">
          <ac:chgData name="Dan Mallott" userId="dcb254b6-3083-4a8e-a95c-2824abb75bec" providerId="ADAL" clId="{EDF15544-1E4F-2C46-8CA1-28C465275CC4}" dt="2021-09-07T14:58:21.748" v="2712" actId="20577"/>
          <ac:spMkLst>
            <pc:docMk/>
            <pc:sldMk cId="2345903428" sldId="3915"/>
            <ac:spMk id="9" creationId="{2DF366E1-3EC6-CD42-9460-C71971F6FF8E}"/>
          </ac:spMkLst>
        </pc:spChg>
        <pc:spChg chg="mod">
          <ac:chgData name="Dan Mallott" userId="dcb254b6-3083-4a8e-a95c-2824abb75bec" providerId="ADAL" clId="{EDF15544-1E4F-2C46-8CA1-28C465275CC4}" dt="2021-09-07T14:53:50.807" v="2414"/>
          <ac:spMkLst>
            <pc:docMk/>
            <pc:sldMk cId="2345903428" sldId="3915"/>
            <ac:spMk id="10" creationId="{0EFABA7E-D30F-074D-AF42-D57072D02B91}"/>
          </ac:spMkLst>
        </pc:spChg>
        <pc:spChg chg="mod">
          <ac:chgData name="Dan Mallott" userId="dcb254b6-3083-4a8e-a95c-2824abb75bec" providerId="ADAL" clId="{EDF15544-1E4F-2C46-8CA1-28C465275CC4}" dt="2021-09-07T15:20:04.546" v="2713" actId="20577"/>
          <ac:spMkLst>
            <pc:docMk/>
            <pc:sldMk cId="2345903428" sldId="3915"/>
            <ac:spMk id="11" creationId="{67814AA5-A7EE-FB4D-9BEE-7B9D81714B8E}"/>
          </ac:spMkLst>
        </pc:spChg>
        <pc:grpChg chg="add mod">
          <ac:chgData name="Dan Mallott" userId="dcb254b6-3083-4a8e-a95c-2824abb75bec" providerId="ADAL" clId="{EDF15544-1E4F-2C46-8CA1-28C465275CC4}" dt="2021-09-07T14:54:11.398" v="2417" actId="14100"/>
          <ac:grpSpMkLst>
            <pc:docMk/>
            <pc:sldMk cId="2345903428" sldId="3915"/>
            <ac:grpSpMk id="6" creationId="{33672B80-8692-8D4F-83F4-5C977AB88DE6}"/>
          </ac:grpSpMkLst>
        </pc:grpChg>
        <pc:picChg chg="add mod">
          <ac:chgData name="Dan Mallott" userId="dcb254b6-3083-4a8e-a95c-2824abb75bec" providerId="ADAL" clId="{EDF15544-1E4F-2C46-8CA1-28C465275CC4}" dt="2021-09-07T15:47:26.642" v="3249" actId="1036"/>
          <ac:picMkLst>
            <pc:docMk/>
            <pc:sldMk cId="2345903428" sldId="3915"/>
            <ac:picMk id="13" creationId="{8B0A9AC1-7B37-434F-A6E0-137AFEFF889C}"/>
          </ac:picMkLst>
        </pc:picChg>
      </pc:sldChg>
      <pc:sldChg chg="addSp modSp new mod ord">
        <pc:chgData name="Dan Mallott" userId="dcb254b6-3083-4a8e-a95c-2824abb75bec" providerId="ADAL" clId="{EDF15544-1E4F-2C46-8CA1-28C465275CC4}" dt="2021-09-07T16:08:59.661" v="3544" actId="1076"/>
        <pc:sldMkLst>
          <pc:docMk/>
          <pc:sldMk cId="2141373773" sldId="3916"/>
        </pc:sldMkLst>
        <pc:spChg chg="mod">
          <ac:chgData name="Dan Mallott" userId="dcb254b6-3083-4a8e-a95c-2824abb75bec" providerId="ADAL" clId="{EDF15544-1E4F-2C46-8CA1-28C465275CC4}" dt="2021-09-07T15:57:55.046" v="3337" actId="20577"/>
          <ac:spMkLst>
            <pc:docMk/>
            <pc:sldMk cId="2141373773" sldId="3916"/>
            <ac:spMk id="2" creationId="{67E91C7D-9A0F-5D4C-88A9-E6C584E43ADE}"/>
          </ac:spMkLst>
        </pc:spChg>
        <pc:spChg chg="mod">
          <ac:chgData name="Dan Mallott" userId="dcb254b6-3083-4a8e-a95c-2824abb75bec" providerId="ADAL" clId="{EDF15544-1E4F-2C46-8CA1-28C465275CC4}" dt="2021-09-07T16:08:08.377" v="3529" actId="12"/>
          <ac:spMkLst>
            <pc:docMk/>
            <pc:sldMk cId="2141373773" sldId="3916"/>
            <ac:spMk id="3" creationId="{95C97004-8A8D-FD46-B074-C70B084B108D}"/>
          </ac:spMkLst>
        </pc:spChg>
        <pc:spChg chg="mod">
          <ac:chgData name="Dan Mallott" userId="dcb254b6-3083-4a8e-a95c-2824abb75bec" providerId="ADAL" clId="{EDF15544-1E4F-2C46-8CA1-28C465275CC4}" dt="2021-09-07T15:42:47.742" v="3244" actId="20577"/>
          <ac:spMkLst>
            <pc:docMk/>
            <pc:sldMk cId="2141373773" sldId="3916"/>
            <ac:spMk id="4" creationId="{74234E94-72A8-0E43-8DD7-9690B37322E1}"/>
          </ac:spMkLst>
        </pc:spChg>
        <pc:picChg chg="add mod">
          <ac:chgData name="Dan Mallott" userId="dcb254b6-3083-4a8e-a95c-2824abb75bec" providerId="ADAL" clId="{EDF15544-1E4F-2C46-8CA1-28C465275CC4}" dt="2021-09-07T16:08:59.661" v="3544" actId="1076"/>
          <ac:picMkLst>
            <pc:docMk/>
            <pc:sldMk cId="2141373773" sldId="3916"/>
            <ac:picMk id="7" creationId="{9CEA6379-2CC0-8D40-B1C2-AA6CC955A6B8}"/>
          </ac:picMkLst>
        </pc:picChg>
        <pc:picChg chg="add mod">
          <ac:chgData name="Dan Mallott" userId="dcb254b6-3083-4a8e-a95c-2824abb75bec" providerId="ADAL" clId="{EDF15544-1E4F-2C46-8CA1-28C465275CC4}" dt="2021-09-07T16:08:56.595" v="3543" actId="1076"/>
          <ac:picMkLst>
            <pc:docMk/>
            <pc:sldMk cId="2141373773" sldId="3916"/>
            <ac:picMk id="9" creationId="{746827D0-0C16-284E-A077-527806A37126}"/>
          </ac:picMkLst>
        </pc:picChg>
      </pc:sldChg>
      <pc:sldChg chg="addSp delSp modSp new mod modClrScheme chgLayout">
        <pc:chgData name="Dan Mallott" userId="dcb254b6-3083-4a8e-a95c-2824abb75bec" providerId="ADAL" clId="{EDF15544-1E4F-2C46-8CA1-28C465275CC4}" dt="2021-09-07T16:09:48.515" v="3607" actId="114"/>
        <pc:sldMkLst>
          <pc:docMk/>
          <pc:sldMk cId="929895889" sldId="3917"/>
        </pc:sldMkLst>
        <pc:spChg chg="del">
          <ac:chgData name="Dan Mallott" userId="dcb254b6-3083-4a8e-a95c-2824abb75bec" providerId="ADAL" clId="{EDF15544-1E4F-2C46-8CA1-28C465275CC4}" dt="2021-09-07T16:09:22.055" v="3546" actId="700"/>
          <ac:spMkLst>
            <pc:docMk/>
            <pc:sldMk cId="929895889" sldId="3917"/>
            <ac:spMk id="2" creationId="{3D3F34D3-0621-244D-A700-CB687102A8DC}"/>
          </ac:spMkLst>
        </pc:spChg>
        <pc:spChg chg="del">
          <ac:chgData name="Dan Mallott" userId="dcb254b6-3083-4a8e-a95c-2824abb75bec" providerId="ADAL" clId="{EDF15544-1E4F-2C46-8CA1-28C465275CC4}" dt="2021-09-07T16:09:22.055" v="3546" actId="700"/>
          <ac:spMkLst>
            <pc:docMk/>
            <pc:sldMk cId="929895889" sldId="3917"/>
            <ac:spMk id="3" creationId="{23575A0E-6651-2B4E-BD16-3E96F65C9D82}"/>
          </ac:spMkLst>
        </pc:spChg>
        <pc:spChg chg="del mod ord">
          <ac:chgData name="Dan Mallott" userId="dcb254b6-3083-4a8e-a95c-2824abb75bec" providerId="ADAL" clId="{EDF15544-1E4F-2C46-8CA1-28C465275CC4}" dt="2021-09-07T16:09:22.055" v="3546" actId="700"/>
          <ac:spMkLst>
            <pc:docMk/>
            <pc:sldMk cId="929895889" sldId="3917"/>
            <ac:spMk id="4" creationId="{67A14AC7-BC8B-1444-95D0-7A4DEC5C4936}"/>
          </ac:spMkLst>
        </pc:spChg>
        <pc:spChg chg="mod ord">
          <ac:chgData name="Dan Mallott" userId="dcb254b6-3083-4a8e-a95c-2824abb75bec" providerId="ADAL" clId="{EDF15544-1E4F-2C46-8CA1-28C465275CC4}" dt="2021-09-07T16:09:22.055" v="3546" actId="700"/>
          <ac:spMkLst>
            <pc:docMk/>
            <pc:sldMk cId="929895889" sldId="3917"/>
            <ac:spMk id="5" creationId="{E15DC5CA-1A15-1B46-9646-8193C327A4C4}"/>
          </ac:spMkLst>
        </pc:spChg>
        <pc:spChg chg="add mod ord">
          <ac:chgData name="Dan Mallott" userId="dcb254b6-3083-4a8e-a95c-2824abb75bec" providerId="ADAL" clId="{EDF15544-1E4F-2C46-8CA1-28C465275CC4}" dt="2021-09-07T16:09:48.515" v="3607" actId="114"/>
          <ac:spMkLst>
            <pc:docMk/>
            <pc:sldMk cId="929895889" sldId="3917"/>
            <ac:spMk id="6" creationId="{D875C761-D88F-1C48-9450-C1E4FEE7EE44}"/>
          </ac:spMkLst>
        </pc:spChg>
      </pc:sldChg>
      <pc:sldChg chg="addSp delSp modSp new mod modClrScheme chgLayout">
        <pc:chgData name="Dan Mallott" userId="dcb254b6-3083-4a8e-a95c-2824abb75bec" providerId="ADAL" clId="{EDF15544-1E4F-2C46-8CA1-28C465275CC4}" dt="2021-09-07T18:22:46.977" v="3867" actId="20577"/>
        <pc:sldMkLst>
          <pc:docMk/>
          <pc:sldMk cId="653151720" sldId="3918"/>
        </pc:sldMkLst>
        <pc:spChg chg="del mod ord">
          <ac:chgData name="Dan Mallott" userId="dcb254b6-3083-4a8e-a95c-2824abb75bec" providerId="ADAL" clId="{EDF15544-1E4F-2C46-8CA1-28C465275CC4}" dt="2021-09-07T16:18:43.615" v="3609" actId="700"/>
          <ac:spMkLst>
            <pc:docMk/>
            <pc:sldMk cId="653151720" sldId="3918"/>
            <ac:spMk id="2" creationId="{26D598EB-3A8B-8945-BFCF-E85BEA9DABCA}"/>
          </ac:spMkLst>
        </pc:spChg>
        <pc:spChg chg="mod ord">
          <ac:chgData name="Dan Mallott" userId="dcb254b6-3083-4a8e-a95c-2824abb75bec" providerId="ADAL" clId="{EDF15544-1E4F-2C46-8CA1-28C465275CC4}" dt="2021-09-07T16:18:43.615" v="3609" actId="700"/>
          <ac:spMkLst>
            <pc:docMk/>
            <pc:sldMk cId="653151720" sldId="3918"/>
            <ac:spMk id="3" creationId="{D1F227C6-B248-814B-9E82-F9E2BFBC0393}"/>
          </ac:spMkLst>
        </pc:spChg>
        <pc:spChg chg="add mod ord">
          <ac:chgData name="Dan Mallott" userId="dcb254b6-3083-4a8e-a95c-2824abb75bec" providerId="ADAL" clId="{EDF15544-1E4F-2C46-8CA1-28C465275CC4}" dt="2021-09-07T16:19:14.111" v="3681" actId="255"/>
          <ac:spMkLst>
            <pc:docMk/>
            <pc:sldMk cId="653151720" sldId="3918"/>
            <ac:spMk id="4" creationId="{97653600-C353-C34B-8E45-045847520883}"/>
          </ac:spMkLst>
        </pc:spChg>
        <pc:spChg chg="add mod ord">
          <ac:chgData name="Dan Mallott" userId="dcb254b6-3083-4a8e-a95c-2824abb75bec" providerId="ADAL" clId="{EDF15544-1E4F-2C46-8CA1-28C465275CC4}" dt="2021-09-07T18:22:46.977" v="3867" actId="20577"/>
          <ac:spMkLst>
            <pc:docMk/>
            <pc:sldMk cId="653151720" sldId="3918"/>
            <ac:spMk id="5" creationId="{B73A7304-4762-7942-BD50-C08D8CF0CCD9}"/>
          </ac:spMkLst>
        </pc:spChg>
        <pc:spChg chg="add mod">
          <ac:chgData name="Dan Mallott" userId="dcb254b6-3083-4a8e-a95c-2824abb75bec" providerId="ADAL" clId="{EDF15544-1E4F-2C46-8CA1-28C465275CC4}" dt="2021-09-07T16:27:21.071" v="3856" actId="255"/>
          <ac:spMkLst>
            <pc:docMk/>
            <pc:sldMk cId="653151720" sldId="3918"/>
            <ac:spMk id="6" creationId="{971B4156-6FE5-CF45-BC3F-CE05C031FE0C}"/>
          </ac:spMkLst>
        </pc:spChg>
        <pc:spChg chg="add mod">
          <ac:chgData name="Dan Mallott" userId="dcb254b6-3083-4a8e-a95c-2824abb75bec" providerId="ADAL" clId="{EDF15544-1E4F-2C46-8CA1-28C465275CC4}" dt="2021-09-07T16:26:54.505" v="3852" actId="14100"/>
          <ac:spMkLst>
            <pc:docMk/>
            <pc:sldMk cId="653151720" sldId="3918"/>
            <ac:spMk id="7" creationId="{9DCF3BB9-F173-9D43-81CF-FA870DAAE5A1}"/>
          </ac:spMkLst>
        </pc:spChg>
        <pc:spChg chg="add mod">
          <ac:chgData name="Dan Mallott" userId="dcb254b6-3083-4a8e-a95c-2824abb75bec" providerId="ADAL" clId="{EDF15544-1E4F-2C46-8CA1-28C465275CC4}" dt="2021-09-07T16:27:21.071" v="3856" actId="255"/>
          <ac:spMkLst>
            <pc:docMk/>
            <pc:sldMk cId="653151720" sldId="3918"/>
            <ac:spMk id="8" creationId="{C6524674-532F-0246-82B8-A4A459AF7EC8}"/>
          </ac:spMkLst>
        </pc:spChg>
        <pc:spChg chg="add mod">
          <ac:chgData name="Dan Mallott" userId="dcb254b6-3083-4a8e-a95c-2824abb75bec" providerId="ADAL" clId="{EDF15544-1E4F-2C46-8CA1-28C465275CC4}" dt="2021-09-07T16:26:54.505" v="3852" actId="14100"/>
          <ac:spMkLst>
            <pc:docMk/>
            <pc:sldMk cId="653151720" sldId="3918"/>
            <ac:spMk id="9" creationId="{ED77D263-2289-934E-A5D4-D0B7A696FFEF}"/>
          </ac:spMkLst>
        </pc:spChg>
        <pc:spChg chg="add mod">
          <ac:chgData name="Dan Mallott" userId="dcb254b6-3083-4a8e-a95c-2824abb75bec" providerId="ADAL" clId="{EDF15544-1E4F-2C46-8CA1-28C465275CC4}" dt="2021-09-07T16:27:21.071" v="3856" actId="255"/>
          <ac:spMkLst>
            <pc:docMk/>
            <pc:sldMk cId="653151720" sldId="3918"/>
            <ac:spMk id="10" creationId="{8387AFEA-C635-D147-9AB2-37504E4E9656}"/>
          </ac:spMkLst>
        </pc:spChg>
        <pc:spChg chg="add mod">
          <ac:chgData name="Dan Mallott" userId="dcb254b6-3083-4a8e-a95c-2824abb75bec" providerId="ADAL" clId="{EDF15544-1E4F-2C46-8CA1-28C465275CC4}" dt="2021-09-07T16:26:54.505" v="3852" actId="14100"/>
          <ac:spMkLst>
            <pc:docMk/>
            <pc:sldMk cId="653151720" sldId="3918"/>
            <ac:spMk id="11" creationId="{3440D1FD-5FB4-1E4A-812F-F7D1214782D7}"/>
          </ac:spMkLst>
        </pc:spChg>
        <pc:spChg chg="add del mod">
          <ac:chgData name="Dan Mallott" userId="dcb254b6-3083-4a8e-a95c-2824abb75bec" providerId="ADAL" clId="{EDF15544-1E4F-2C46-8CA1-28C465275CC4}" dt="2021-09-07T16:25:15.097" v="3843" actId="478"/>
          <ac:spMkLst>
            <pc:docMk/>
            <pc:sldMk cId="653151720" sldId="3918"/>
            <ac:spMk id="12" creationId="{D754393F-FB08-1147-B075-44EC6BD4F78A}"/>
          </ac:spMkLst>
        </pc:spChg>
        <pc:spChg chg="add del mod">
          <ac:chgData name="Dan Mallott" userId="dcb254b6-3083-4a8e-a95c-2824abb75bec" providerId="ADAL" clId="{EDF15544-1E4F-2C46-8CA1-28C465275CC4}" dt="2021-09-07T16:25:15.097" v="3843" actId="478"/>
          <ac:spMkLst>
            <pc:docMk/>
            <pc:sldMk cId="653151720" sldId="3918"/>
            <ac:spMk id="13" creationId="{B2D7D4AE-32A9-6641-AF0F-306CF9FAEEFA}"/>
          </ac:spMkLst>
        </pc:spChg>
        <pc:spChg chg="add del mod">
          <ac:chgData name="Dan Mallott" userId="dcb254b6-3083-4a8e-a95c-2824abb75bec" providerId="ADAL" clId="{EDF15544-1E4F-2C46-8CA1-28C465275CC4}" dt="2021-09-07T16:25:15.097" v="3843" actId="478"/>
          <ac:spMkLst>
            <pc:docMk/>
            <pc:sldMk cId="653151720" sldId="3918"/>
            <ac:spMk id="14" creationId="{4A99B5A9-C28A-A54D-8B7E-675AB45150B3}"/>
          </ac:spMkLst>
        </pc:spChg>
        <pc:spChg chg="add del mod">
          <ac:chgData name="Dan Mallott" userId="dcb254b6-3083-4a8e-a95c-2824abb75bec" providerId="ADAL" clId="{EDF15544-1E4F-2C46-8CA1-28C465275CC4}" dt="2021-09-07T16:25:15.097" v="3843" actId="478"/>
          <ac:spMkLst>
            <pc:docMk/>
            <pc:sldMk cId="653151720" sldId="3918"/>
            <ac:spMk id="15" creationId="{CE25A18A-5CC8-9944-AE38-6E8B6F1BDE09}"/>
          </ac:spMkLst>
        </pc:spChg>
        <pc:spChg chg="add mod">
          <ac:chgData name="Dan Mallott" userId="dcb254b6-3083-4a8e-a95c-2824abb75bec" providerId="ADAL" clId="{EDF15544-1E4F-2C46-8CA1-28C465275CC4}" dt="2021-09-07T16:27:21.071" v="3856" actId="255"/>
          <ac:spMkLst>
            <pc:docMk/>
            <pc:sldMk cId="653151720" sldId="3918"/>
            <ac:spMk id="16" creationId="{524CD5E2-C074-2A4F-B81A-E9FAC8B04211}"/>
          </ac:spMkLst>
        </pc:spChg>
        <pc:spChg chg="add mod">
          <ac:chgData name="Dan Mallott" userId="dcb254b6-3083-4a8e-a95c-2824abb75bec" providerId="ADAL" clId="{EDF15544-1E4F-2C46-8CA1-28C465275CC4}" dt="2021-09-07T16:26:54.505" v="3852" actId="14100"/>
          <ac:spMkLst>
            <pc:docMk/>
            <pc:sldMk cId="653151720" sldId="3918"/>
            <ac:spMk id="17" creationId="{30AADDF2-6632-6343-8946-3B23F72EE4E7}"/>
          </ac:spMkLst>
        </pc:spChg>
        <pc:spChg chg="add del mod">
          <ac:chgData name="Dan Mallott" userId="dcb254b6-3083-4a8e-a95c-2824abb75bec" providerId="ADAL" clId="{EDF15544-1E4F-2C46-8CA1-28C465275CC4}" dt="2021-09-07T16:27:02.925" v="3854" actId="767"/>
          <ac:spMkLst>
            <pc:docMk/>
            <pc:sldMk cId="653151720" sldId="3918"/>
            <ac:spMk id="18" creationId="{2AF13D40-0CD9-B74E-A925-6ECC7710F9FA}"/>
          </ac:spMkLst>
        </pc:spChg>
      </pc:sldChg>
      <pc:sldChg chg="addSp delSp modSp new mod">
        <pc:chgData name="Dan Mallott" userId="dcb254b6-3083-4a8e-a95c-2824abb75bec" providerId="ADAL" clId="{EDF15544-1E4F-2C46-8CA1-28C465275CC4}" dt="2021-09-08T14:31:03.902" v="5641" actId="2711"/>
        <pc:sldMkLst>
          <pc:docMk/>
          <pc:sldMk cId="1316840020" sldId="3919"/>
        </pc:sldMkLst>
        <pc:spChg chg="mod">
          <ac:chgData name="Dan Mallott" userId="dcb254b6-3083-4a8e-a95c-2824abb75bec" providerId="ADAL" clId="{EDF15544-1E4F-2C46-8CA1-28C465275CC4}" dt="2021-09-07T18:23:07.330" v="3901" actId="255"/>
          <ac:spMkLst>
            <pc:docMk/>
            <pc:sldMk cId="1316840020" sldId="3919"/>
            <ac:spMk id="2" creationId="{87D64E35-D3AC-E74E-B28D-150B7F841BC7}"/>
          </ac:spMkLst>
        </pc:spChg>
        <pc:spChg chg="mod">
          <ac:chgData name="Dan Mallott" userId="dcb254b6-3083-4a8e-a95c-2824abb75bec" providerId="ADAL" clId="{EDF15544-1E4F-2C46-8CA1-28C465275CC4}" dt="2021-09-07T18:22:41.906" v="3866" actId="20577"/>
          <ac:spMkLst>
            <pc:docMk/>
            <pc:sldMk cId="1316840020" sldId="3919"/>
            <ac:spMk id="3" creationId="{BECD5646-C82E-BE42-8741-1269CA546B67}"/>
          </ac:spMkLst>
        </pc:spChg>
        <pc:spChg chg="add del mod">
          <ac:chgData name="Dan Mallott" userId="dcb254b6-3083-4a8e-a95c-2824abb75bec" providerId="ADAL" clId="{EDF15544-1E4F-2C46-8CA1-28C465275CC4}" dt="2021-09-07T19:12:01.716" v="4039" actId="478"/>
          <ac:spMkLst>
            <pc:docMk/>
            <pc:sldMk cId="1316840020" sldId="3919"/>
            <ac:spMk id="5" creationId="{FA1B41C9-9B3F-D542-AFFE-911C85B38478}"/>
          </ac:spMkLst>
        </pc:spChg>
        <pc:spChg chg="add del mod">
          <ac:chgData name="Dan Mallott" userId="dcb254b6-3083-4a8e-a95c-2824abb75bec" providerId="ADAL" clId="{EDF15544-1E4F-2C46-8CA1-28C465275CC4}" dt="2021-09-07T19:12:01.716" v="4039" actId="478"/>
          <ac:spMkLst>
            <pc:docMk/>
            <pc:sldMk cId="1316840020" sldId="3919"/>
            <ac:spMk id="6" creationId="{3DED308D-F8BA-F840-81FE-095DEEBFC632}"/>
          </ac:spMkLst>
        </pc:spChg>
        <pc:spChg chg="mod">
          <ac:chgData name="Dan Mallott" userId="dcb254b6-3083-4a8e-a95c-2824abb75bec" providerId="ADAL" clId="{EDF15544-1E4F-2C46-8CA1-28C465275CC4}" dt="2021-09-07T18:25:43.470" v="3902" actId="20577"/>
          <ac:spMkLst>
            <pc:docMk/>
            <pc:sldMk cId="1316840020" sldId="3919"/>
            <ac:spMk id="8" creationId="{9C2D37F8-1E42-F34A-8BBC-79090B31F5BA}"/>
          </ac:spMkLst>
        </pc:spChg>
        <pc:spChg chg="mod">
          <ac:chgData name="Dan Mallott" userId="dcb254b6-3083-4a8e-a95c-2824abb75bec" providerId="ADAL" clId="{EDF15544-1E4F-2C46-8CA1-28C465275CC4}" dt="2021-09-07T18:22:37.894" v="3858"/>
          <ac:spMkLst>
            <pc:docMk/>
            <pc:sldMk cId="1316840020" sldId="3919"/>
            <ac:spMk id="9" creationId="{B6C0BCD0-3C4D-5B41-A75E-6C04E08DB673}"/>
          </ac:spMkLst>
        </pc:spChg>
        <pc:spChg chg="mod">
          <ac:chgData name="Dan Mallott" userId="dcb254b6-3083-4a8e-a95c-2824abb75bec" providerId="ADAL" clId="{EDF15544-1E4F-2C46-8CA1-28C465275CC4}" dt="2021-09-07T18:22:37.894" v="3858"/>
          <ac:spMkLst>
            <pc:docMk/>
            <pc:sldMk cId="1316840020" sldId="3919"/>
            <ac:spMk id="10" creationId="{4413904F-A935-DB4F-8439-7F953B8AA18A}"/>
          </ac:spMkLst>
        </pc:spChg>
        <pc:spChg chg="mod">
          <ac:chgData name="Dan Mallott" userId="dcb254b6-3083-4a8e-a95c-2824abb75bec" providerId="ADAL" clId="{EDF15544-1E4F-2C46-8CA1-28C465275CC4}" dt="2021-09-07T18:22:37.894" v="3858"/>
          <ac:spMkLst>
            <pc:docMk/>
            <pc:sldMk cId="1316840020" sldId="3919"/>
            <ac:spMk id="11" creationId="{BC20E40C-D70A-3C47-B217-CCA48FBE6AFF}"/>
          </ac:spMkLst>
        </pc:spChg>
        <pc:spChg chg="mod">
          <ac:chgData name="Dan Mallott" userId="dcb254b6-3083-4a8e-a95c-2824abb75bec" providerId="ADAL" clId="{EDF15544-1E4F-2C46-8CA1-28C465275CC4}" dt="2021-09-07T18:22:37.894" v="3858"/>
          <ac:spMkLst>
            <pc:docMk/>
            <pc:sldMk cId="1316840020" sldId="3919"/>
            <ac:spMk id="12" creationId="{8900A22C-6EFC-894D-90D3-C7215916C4A9}"/>
          </ac:spMkLst>
        </pc:spChg>
        <pc:spChg chg="mod">
          <ac:chgData name="Dan Mallott" userId="dcb254b6-3083-4a8e-a95c-2824abb75bec" providerId="ADAL" clId="{EDF15544-1E4F-2C46-8CA1-28C465275CC4}" dt="2021-09-07T18:22:37.894" v="3858"/>
          <ac:spMkLst>
            <pc:docMk/>
            <pc:sldMk cId="1316840020" sldId="3919"/>
            <ac:spMk id="13" creationId="{C99B3106-A06E-FE4B-85D4-71024D8778B9}"/>
          </ac:spMkLst>
        </pc:spChg>
        <pc:spChg chg="mod">
          <ac:chgData name="Dan Mallott" userId="dcb254b6-3083-4a8e-a95c-2824abb75bec" providerId="ADAL" clId="{EDF15544-1E4F-2C46-8CA1-28C465275CC4}" dt="2021-09-07T18:26:08.849" v="3948" actId="20577"/>
          <ac:spMkLst>
            <pc:docMk/>
            <pc:sldMk cId="1316840020" sldId="3919"/>
            <ac:spMk id="14" creationId="{B0B3A49A-3778-CB45-86A6-B44EEDBD4BB7}"/>
          </ac:spMkLst>
        </pc:spChg>
        <pc:spChg chg="mod">
          <ac:chgData name="Dan Mallott" userId="dcb254b6-3083-4a8e-a95c-2824abb75bec" providerId="ADAL" clId="{EDF15544-1E4F-2C46-8CA1-28C465275CC4}" dt="2021-09-07T18:26:31.805" v="4038" actId="20577"/>
          <ac:spMkLst>
            <pc:docMk/>
            <pc:sldMk cId="1316840020" sldId="3919"/>
            <ac:spMk id="15" creationId="{3844C3F8-98F4-0D4F-92FC-09059DDADE9C}"/>
          </ac:spMkLst>
        </pc:spChg>
        <pc:spChg chg="mod">
          <ac:chgData name="Dan Mallott" userId="dcb254b6-3083-4a8e-a95c-2824abb75bec" providerId="ADAL" clId="{EDF15544-1E4F-2C46-8CA1-28C465275CC4}" dt="2021-09-07T18:22:37.894" v="3858"/>
          <ac:spMkLst>
            <pc:docMk/>
            <pc:sldMk cId="1316840020" sldId="3919"/>
            <ac:spMk id="16" creationId="{2FE7C473-DE49-E44A-86C5-4B8F97A0EB49}"/>
          </ac:spMkLst>
        </pc:spChg>
        <pc:spChg chg="mod">
          <ac:chgData name="Dan Mallott" userId="dcb254b6-3083-4a8e-a95c-2824abb75bec" providerId="ADAL" clId="{EDF15544-1E4F-2C46-8CA1-28C465275CC4}" dt="2021-09-07T18:22:37.894" v="3858"/>
          <ac:spMkLst>
            <pc:docMk/>
            <pc:sldMk cId="1316840020" sldId="3919"/>
            <ac:spMk id="17" creationId="{22C35181-8E22-AA44-AB2C-D896816B21ED}"/>
          </ac:spMkLst>
        </pc:spChg>
        <pc:spChg chg="mod">
          <ac:chgData name="Dan Mallott" userId="dcb254b6-3083-4a8e-a95c-2824abb75bec" providerId="ADAL" clId="{EDF15544-1E4F-2C46-8CA1-28C465275CC4}" dt="2021-09-07T18:22:37.894" v="3858"/>
          <ac:spMkLst>
            <pc:docMk/>
            <pc:sldMk cId="1316840020" sldId="3919"/>
            <ac:spMk id="18" creationId="{E2B2A71A-22C0-7C42-B4D9-A7122FB604DA}"/>
          </ac:spMkLst>
        </pc:spChg>
        <pc:spChg chg="mod">
          <ac:chgData name="Dan Mallott" userId="dcb254b6-3083-4a8e-a95c-2824abb75bec" providerId="ADAL" clId="{EDF15544-1E4F-2C46-8CA1-28C465275CC4}" dt="2021-09-07T18:22:37.894" v="3858"/>
          <ac:spMkLst>
            <pc:docMk/>
            <pc:sldMk cId="1316840020" sldId="3919"/>
            <ac:spMk id="19" creationId="{BF164303-43CD-864C-9FB9-D1986CB217CC}"/>
          </ac:spMkLst>
        </pc:spChg>
        <pc:spChg chg="mod">
          <ac:chgData name="Dan Mallott" userId="dcb254b6-3083-4a8e-a95c-2824abb75bec" providerId="ADAL" clId="{EDF15544-1E4F-2C46-8CA1-28C465275CC4}" dt="2021-09-07T18:22:37.894" v="3858"/>
          <ac:spMkLst>
            <pc:docMk/>
            <pc:sldMk cId="1316840020" sldId="3919"/>
            <ac:spMk id="20" creationId="{F329DA58-F623-D441-BD1E-4EA494796ACA}"/>
          </ac:spMkLst>
        </pc:spChg>
        <pc:spChg chg="mod">
          <ac:chgData name="Dan Mallott" userId="dcb254b6-3083-4a8e-a95c-2824abb75bec" providerId="ADAL" clId="{EDF15544-1E4F-2C46-8CA1-28C465275CC4}" dt="2021-09-07T18:22:37.894" v="3858"/>
          <ac:spMkLst>
            <pc:docMk/>
            <pc:sldMk cId="1316840020" sldId="3919"/>
            <ac:spMk id="21" creationId="{6551C871-3FD9-8E45-9E90-5FC4FA02B952}"/>
          </ac:spMkLst>
        </pc:spChg>
        <pc:spChg chg="add del mod">
          <ac:chgData name="Dan Mallott" userId="dcb254b6-3083-4a8e-a95c-2824abb75bec" providerId="ADAL" clId="{EDF15544-1E4F-2C46-8CA1-28C465275CC4}" dt="2021-09-07T19:12:01.716" v="4039" actId="478"/>
          <ac:spMkLst>
            <pc:docMk/>
            <pc:sldMk cId="1316840020" sldId="3919"/>
            <ac:spMk id="22" creationId="{A66151FF-346C-BD4A-8203-4A1A4DD6C086}"/>
          </ac:spMkLst>
        </pc:spChg>
        <pc:spChg chg="add del mod">
          <ac:chgData name="Dan Mallott" userId="dcb254b6-3083-4a8e-a95c-2824abb75bec" providerId="ADAL" clId="{EDF15544-1E4F-2C46-8CA1-28C465275CC4}" dt="2021-09-07T19:12:01.716" v="4039" actId="478"/>
          <ac:spMkLst>
            <pc:docMk/>
            <pc:sldMk cId="1316840020" sldId="3919"/>
            <ac:spMk id="23" creationId="{E4D6CE90-87FB-F941-8665-0D6EECE999E3}"/>
          </ac:spMkLst>
        </pc:spChg>
        <pc:spChg chg="add del mod">
          <ac:chgData name="Dan Mallott" userId="dcb254b6-3083-4a8e-a95c-2824abb75bec" providerId="ADAL" clId="{EDF15544-1E4F-2C46-8CA1-28C465275CC4}" dt="2021-09-07T19:12:01.716" v="4039" actId="478"/>
          <ac:spMkLst>
            <pc:docMk/>
            <pc:sldMk cId="1316840020" sldId="3919"/>
            <ac:spMk id="24" creationId="{5E5A4A35-9369-0041-88BE-08B0EDAB84A3}"/>
          </ac:spMkLst>
        </pc:spChg>
        <pc:spChg chg="add mod">
          <ac:chgData name="Dan Mallott" userId="dcb254b6-3083-4a8e-a95c-2824abb75bec" providerId="ADAL" clId="{EDF15544-1E4F-2C46-8CA1-28C465275CC4}" dt="2021-09-07T21:45:15.235" v="4996" actId="1076"/>
          <ac:spMkLst>
            <pc:docMk/>
            <pc:sldMk cId="1316840020" sldId="3919"/>
            <ac:spMk id="26" creationId="{25193D6F-A5C2-DD4E-8646-0628F62682D5}"/>
          </ac:spMkLst>
        </pc:spChg>
        <pc:spChg chg="add del mod">
          <ac:chgData name="Dan Mallott" userId="dcb254b6-3083-4a8e-a95c-2824abb75bec" providerId="ADAL" clId="{EDF15544-1E4F-2C46-8CA1-28C465275CC4}" dt="2021-09-07T21:45:43.942" v="5002" actId="478"/>
          <ac:spMkLst>
            <pc:docMk/>
            <pc:sldMk cId="1316840020" sldId="3919"/>
            <ac:spMk id="27" creationId="{A3F87346-94B0-6E4E-A02E-1C8134164997}"/>
          </ac:spMkLst>
        </pc:spChg>
        <pc:spChg chg="add del mod">
          <ac:chgData name="Dan Mallott" userId="dcb254b6-3083-4a8e-a95c-2824abb75bec" providerId="ADAL" clId="{EDF15544-1E4F-2C46-8CA1-28C465275CC4}" dt="2021-09-07T21:45:43.942" v="5002" actId="478"/>
          <ac:spMkLst>
            <pc:docMk/>
            <pc:sldMk cId="1316840020" sldId="3919"/>
            <ac:spMk id="28" creationId="{8244F072-1CE1-A14E-B3D3-0B04657A8E6B}"/>
          </ac:spMkLst>
        </pc:spChg>
        <pc:spChg chg="add del mod">
          <ac:chgData name="Dan Mallott" userId="dcb254b6-3083-4a8e-a95c-2824abb75bec" providerId="ADAL" clId="{EDF15544-1E4F-2C46-8CA1-28C465275CC4}" dt="2021-09-07T21:45:43.942" v="5002" actId="478"/>
          <ac:spMkLst>
            <pc:docMk/>
            <pc:sldMk cId="1316840020" sldId="3919"/>
            <ac:spMk id="29" creationId="{141B2580-4003-A043-8CFE-CC75BFB463AF}"/>
          </ac:spMkLst>
        </pc:spChg>
        <pc:spChg chg="add del mod">
          <ac:chgData name="Dan Mallott" userId="dcb254b6-3083-4a8e-a95c-2824abb75bec" providerId="ADAL" clId="{EDF15544-1E4F-2C46-8CA1-28C465275CC4}" dt="2021-09-07T21:45:43.942" v="5002" actId="478"/>
          <ac:spMkLst>
            <pc:docMk/>
            <pc:sldMk cId="1316840020" sldId="3919"/>
            <ac:spMk id="30" creationId="{C383A265-A9AB-0A47-9B1F-2B302A1CAC68}"/>
          </ac:spMkLst>
        </pc:spChg>
        <pc:grpChg chg="add del mod">
          <ac:chgData name="Dan Mallott" userId="dcb254b6-3083-4a8e-a95c-2824abb75bec" providerId="ADAL" clId="{EDF15544-1E4F-2C46-8CA1-28C465275CC4}" dt="2021-09-07T19:12:01.716" v="4039" actId="478"/>
          <ac:grpSpMkLst>
            <pc:docMk/>
            <pc:sldMk cId="1316840020" sldId="3919"/>
            <ac:grpSpMk id="7" creationId="{D11F8171-CADC-4F42-8BBA-5B7EE045F539}"/>
          </ac:grpSpMkLst>
        </pc:grpChg>
        <pc:graphicFrameChg chg="add mod modGraphic">
          <ac:chgData name="Dan Mallott" userId="dcb254b6-3083-4a8e-a95c-2824abb75bec" providerId="ADAL" clId="{EDF15544-1E4F-2C46-8CA1-28C465275CC4}" dt="2021-09-08T14:30:48.333" v="5639" actId="2711"/>
          <ac:graphicFrameMkLst>
            <pc:docMk/>
            <pc:sldMk cId="1316840020" sldId="3919"/>
            <ac:graphicFrameMk id="25" creationId="{CD318039-FE01-C74F-A507-295648A13A04}"/>
          </ac:graphicFrameMkLst>
        </pc:graphicFrameChg>
        <pc:graphicFrameChg chg="add mod modGraphic">
          <ac:chgData name="Dan Mallott" userId="dcb254b6-3083-4a8e-a95c-2824abb75bec" providerId="ADAL" clId="{EDF15544-1E4F-2C46-8CA1-28C465275CC4}" dt="2021-09-08T14:31:03.902" v="5641" actId="2711"/>
          <ac:graphicFrameMkLst>
            <pc:docMk/>
            <pc:sldMk cId="1316840020" sldId="3919"/>
            <ac:graphicFrameMk id="31" creationId="{AF6DB1EF-F8D8-4A46-9924-2EDF9D2DE984}"/>
          </ac:graphicFrameMkLst>
        </pc:graphicFrameChg>
      </pc:sldChg>
      <pc:sldChg chg="addSp modSp new mod">
        <pc:chgData name="Dan Mallott" userId="dcb254b6-3083-4a8e-a95c-2824abb75bec" providerId="ADAL" clId="{EDF15544-1E4F-2C46-8CA1-28C465275CC4}" dt="2021-09-08T13:58:22.532" v="5232" actId="1076"/>
        <pc:sldMkLst>
          <pc:docMk/>
          <pc:sldMk cId="829527753" sldId="3920"/>
        </pc:sldMkLst>
        <pc:spChg chg="mod">
          <ac:chgData name="Dan Mallott" userId="dcb254b6-3083-4a8e-a95c-2824abb75bec" providerId="ADAL" clId="{EDF15544-1E4F-2C46-8CA1-28C465275CC4}" dt="2021-09-08T13:44:42.217" v="5063" actId="255"/>
          <ac:spMkLst>
            <pc:docMk/>
            <pc:sldMk cId="829527753" sldId="3920"/>
            <ac:spMk id="2" creationId="{202A0A5A-6876-D24B-B93D-CC087EFDB9C9}"/>
          </ac:spMkLst>
        </pc:spChg>
        <pc:spChg chg="mod">
          <ac:chgData name="Dan Mallott" userId="dcb254b6-3083-4a8e-a95c-2824abb75bec" providerId="ADAL" clId="{EDF15544-1E4F-2C46-8CA1-28C465275CC4}" dt="2021-09-08T13:58:09.630" v="5229" actId="20577"/>
          <ac:spMkLst>
            <pc:docMk/>
            <pc:sldMk cId="829527753" sldId="3920"/>
            <ac:spMk id="3" creationId="{C12C2CBF-950C-CA43-90DF-A7D23C4F4B5B}"/>
          </ac:spMkLst>
        </pc:spChg>
        <pc:spChg chg="mod">
          <ac:chgData name="Dan Mallott" userId="dcb254b6-3083-4a8e-a95c-2824abb75bec" providerId="ADAL" clId="{EDF15544-1E4F-2C46-8CA1-28C465275CC4}" dt="2021-09-08T13:44:17.008" v="5011" actId="20577"/>
          <ac:spMkLst>
            <pc:docMk/>
            <pc:sldMk cId="829527753" sldId="3920"/>
            <ac:spMk id="4" creationId="{A9F06CB0-0C8D-234A-AE7A-2DBFFD81682A}"/>
          </ac:spMkLst>
        </pc:spChg>
        <pc:picChg chg="add mod">
          <ac:chgData name="Dan Mallott" userId="dcb254b6-3083-4a8e-a95c-2824abb75bec" providerId="ADAL" clId="{EDF15544-1E4F-2C46-8CA1-28C465275CC4}" dt="2021-09-08T13:58:17.583" v="5230" actId="1076"/>
          <ac:picMkLst>
            <pc:docMk/>
            <pc:sldMk cId="829527753" sldId="3920"/>
            <ac:picMk id="7" creationId="{EE5DDE7C-B302-6E4F-9859-1A39A1521DC6}"/>
          </ac:picMkLst>
        </pc:picChg>
        <pc:picChg chg="add mod">
          <ac:chgData name="Dan Mallott" userId="dcb254b6-3083-4a8e-a95c-2824abb75bec" providerId="ADAL" clId="{EDF15544-1E4F-2C46-8CA1-28C465275CC4}" dt="2021-09-08T13:58:20.368" v="5231" actId="1076"/>
          <ac:picMkLst>
            <pc:docMk/>
            <pc:sldMk cId="829527753" sldId="3920"/>
            <ac:picMk id="9" creationId="{DC33E8AC-35FC-0D4B-955B-74ECD65336E8}"/>
          </ac:picMkLst>
        </pc:picChg>
        <pc:picChg chg="add mod">
          <ac:chgData name="Dan Mallott" userId="dcb254b6-3083-4a8e-a95c-2824abb75bec" providerId="ADAL" clId="{EDF15544-1E4F-2C46-8CA1-28C465275CC4}" dt="2021-09-08T13:58:22.532" v="5232" actId="1076"/>
          <ac:picMkLst>
            <pc:docMk/>
            <pc:sldMk cId="829527753" sldId="3920"/>
            <ac:picMk id="11" creationId="{635DEBA9-356D-A245-A19C-896E198DB109}"/>
          </ac:picMkLst>
        </pc:picChg>
      </pc:sldChg>
      <pc:sldChg chg="modSp new mod">
        <pc:chgData name="Dan Mallott" userId="dcb254b6-3083-4a8e-a95c-2824abb75bec" providerId="ADAL" clId="{EDF15544-1E4F-2C46-8CA1-28C465275CC4}" dt="2021-09-08T14:37:23.615" v="5856" actId="403"/>
        <pc:sldMkLst>
          <pc:docMk/>
          <pc:sldMk cId="934741297" sldId="3921"/>
        </pc:sldMkLst>
        <pc:spChg chg="mod">
          <ac:chgData name="Dan Mallott" userId="dcb254b6-3083-4a8e-a95c-2824abb75bec" providerId="ADAL" clId="{EDF15544-1E4F-2C46-8CA1-28C465275CC4}" dt="2021-09-08T14:37:14.707" v="5844" actId="255"/>
          <ac:spMkLst>
            <pc:docMk/>
            <pc:sldMk cId="934741297" sldId="3921"/>
            <ac:spMk id="2" creationId="{6C47E77B-C3F2-E544-B977-B5F0B88E5043}"/>
          </ac:spMkLst>
        </pc:spChg>
        <pc:spChg chg="mod">
          <ac:chgData name="Dan Mallott" userId="dcb254b6-3083-4a8e-a95c-2824abb75bec" providerId="ADAL" clId="{EDF15544-1E4F-2C46-8CA1-28C465275CC4}" dt="2021-09-08T14:37:23.615" v="5856" actId="403"/>
          <ac:spMkLst>
            <pc:docMk/>
            <pc:sldMk cId="934741297" sldId="3921"/>
            <ac:spMk id="3" creationId="{F223AC81-F61C-8449-B52D-BD1375658C82}"/>
          </ac:spMkLst>
        </pc:spChg>
        <pc:spChg chg="mod">
          <ac:chgData name="Dan Mallott" userId="dcb254b6-3083-4a8e-a95c-2824abb75bec" providerId="ADAL" clId="{EDF15544-1E4F-2C46-8CA1-28C465275CC4}" dt="2021-09-08T14:37:17.484" v="5852" actId="20577"/>
          <ac:spMkLst>
            <pc:docMk/>
            <pc:sldMk cId="934741297" sldId="3921"/>
            <ac:spMk id="4" creationId="{2E9106A2-8F5E-A048-83D3-EA7DE785EBE8}"/>
          </ac:spMkLst>
        </pc:spChg>
      </pc:sldChg>
      <pc:sldChg chg="addSp modSp new mod">
        <pc:chgData name="Dan Mallott" userId="dcb254b6-3083-4a8e-a95c-2824abb75bec" providerId="ADAL" clId="{EDF15544-1E4F-2C46-8CA1-28C465275CC4}" dt="2021-09-08T14:47:37.727" v="6247" actId="1036"/>
        <pc:sldMkLst>
          <pc:docMk/>
          <pc:sldMk cId="561092771" sldId="3922"/>
        </pc:sldMkLst>
        <pc:spChg chg="mod">
          <ac:chgData name="Dan Mallott" userId="dcb254b6-3083-4a8e-a95c-2824abb75bec" providerId="ADAL" clId="{EDF15544-1E4F-2C46-8CA1-28C465275CC4}" dt="2021-09-08T14:37:57.364" v="5902" actId="255"/>
          <ac:spMkLst>
            <pc:docMk/>
            <pc:sldMk cId="561092771" sldId="3922"/>
            <ac:spMk id="2" creationId="{697EE387-CCCC-C44D-B504-6D0928BF5A19}"/>
          </ac:spMkLst>
        </pc:spChg>
        <pc:spChg chg="mod">
          <ac:chgData name="Dan Mallott" userId="dcb254b6-3083-4a8e-a95c-2824abb75bec" providerId="ADAL" clId="{EDF15544-1E4F-2C46-8CA1-28C465275CC4}" dt="2021-09-08T14:47:29.944" v="6215" actId="12"/>
          <ac:spMkLst>
            <pc:docMk/>
            <pc:sldMk cId="561092771" sldId="3922"/>
            <ac:spMk id="3" creationId="{DFB632E0-D0DC-3349-BA99-33C85F5B77D1}"/>
          </ac:spMkLst>
        </pc:spChg>
        <pc:spChg chg="mod">
          <ac:chgData name="Dan Mallott" userId="dcb254b6-3083-4a8e-a95c-2824abb75bec" providerId="ADAL" clId="{EDF15544-1E4F-2C46-8CA1-28C465275CC4}" dt="2021-09-08T14:37:52.821" v="5901" actId="20577"/>
          <ac:spMkLst>
            <pc:docMk/>
            <pc:sldMk cId="561092771" sldId="3922"/>
            <ac:spMk id="4" creationId="{113C29F8-3116-6748-8486-4C2130F6ED41}"/>
          </ac:spMkLst>
        </pc:spChg>
        <pc:picChg chg="add mod">
          <ac:chgData name="Dan Mallott" userId="dcb254b6-3083-4a8e-a95c-2824abb75bec" providerId="ADAL" clId="{EDF15544-1E4F-2C46-8CA1-28C465275CC4}" dt="2021-09-08T14:47:33.348" v="6227" actId="1035"/>
          <ac:picMkLst>
            <pc:docMk/>
            <pc:sldMk cId="561092771" sldId="3922"/>
            <ac:picMk id="7" creationId="{2EE6F868-AB96-FE4C-A805-7BCBE5F87D08}"/>
          </ac:picMkLst>
        </pc:picChg>
        <pc:picChg chg="add mod">
          <ac:chgData name="Dan Mallott" userId="dcb254b6-3083-4a8e-a95c-2824abb75bec" providerId="ADAL" clId="{EDF15544-1E4F-2C46-8CA1-28C465275CC4}" dt="2021-09-08T14:47:37.727" v="6247" actId="1036"/>
          <ac:picMkLst>
            <pc:docMk/>
            <pc:sldMk cId="561092771" sldId="3922"/>
            <ac:picMk id="9" creationId="{8CF94124-B32D-6544-A5F3-989F4F331366}"/>
          </ac:picMkLst>
        </pc:picChg>
      </pc:sldChg>
      <pc:sldChg chg="addSp delSp modSp new mod modClrScheme chgLayout">
        <pc:chgData name="Dan Mallott" userId="dcb254b6-3083-4a8e-a95c-2824abb75bec" providerId="ADAL" clId="{EDF15544-1E4F-2C46-8CA1-28C465275CC4}" dt="2021-09-08T15:34:59.618" v="6315" actId="20577"/>
        <pc:sldMkLst>
          <pc:docMk/>
          <pc:sldMk cId="3112030710" sldId="3923"/>
        </pc:sldMkLst>
        <pc:spChg chg="del">
          <ac:chgData name="Dan Mallott" userId="dcb254b6-3083-4a8e-a95c-2824abb75bec" providerId="ADAL" clId="{EDF15544-1E4F-2C46-8CA1-28C465275CC4}" dt="2021-09-08T15:34:33.067" v="6249" actId="700"/>
          <ac:spMkLst>
            <pc:docMk/>
            <pc:sldMk cId="3112030710" sldId="3923"/>
            <ac:spMk id="2" creationId="{E441FF49-9284-CB48-ABB9-7893E3DDC3F9}"/>
          </ac:spMkLst>
        </pc:spChg>
        <pc:spChg chg="del">
          <ac:chgData name="Dan Mallott" userId="dcb254b6-3083-4a8e-a95c-2824abb75bec" providerId="ADAL" clId="{EDF15544-1E4F-2C46-8CA1-28C465275CC4}" dt="2021-09-08T15:34:33.067" v="6249" actId="700"/>
          <ac:spMkLst>
            <pc:docMk/>
            <pc:sldMk cId="3112030710" sldId="3923"/>
            <ac:spMk id="3" creationId="{5E26504C-1A66-134C-A4B2-48C930ACB68F}"/>
          </ac:spMkLst>
        </pc:spChg>
        <pc:spChg chg="del mod ord">
          <ac:chgData name="Dan Mallott" userId="dcb254b6-3083-4a8e-a95c-2824abb75bec" providerId="ADAL" clId="{EDF15544-1E4F-2C46-8CA1-28C465275CC4}" dt="2021-09-08T15:34:33.067" v="6249" actId="700"/>
          <ac:spMkLst>
            <pc:docMk/>
            <pc:sldMk cId="3112030710" sldId="3923"/>
            <ac:spMk id="4" creationId="{DF6B5837-BE6F-7141-96F3-30D24F4D72F4}"/>
          </ac:spMkLst>
        </pc:spChg>
        <pc:spChg chg="mod ord">
          <ac:chgData name="Dan Mallott" userId="dcb254b6-3083-4a8e-a95c-2824abb75bec" providerId="ADAL" clId="{EDF15544-1E4F-2C46-8CA1-28C465275CC4}" dt="2021-09-08T15:34:33.067" v="6249" actId="700"/>
          <ac:spMkLst>
            <pc:docMk/>
            <pc:sldMk cId="3112030710" sldId="3923"/>
            <ac:spMk id="5" creationId="{A4838144-F9F9-A644-9A5B-3166F4352BD5}"/>
          </ac:spMkLst>
        </pc:spChg>
        <pc:spChg chg="add mod ord">
          <ac:chgData name="Dan Mallott" userId="dcb254b6-3083-4a8e-a95c-2824abb75bec" providerId="ADAL" clId="{EDF15544-1E4F-2C46-8CA1-28C465275CC4}" dt="2021-09-08T15:34:59.618" v="6315" actId="20577"/>
          <ac:spMkLst>
            <pc:docMk/>
            <pc:sldMk cId="3112030710" sldId="3923"/>
            <ac:spMk id="6" creationId="{C52D11DC-3BA1-C445-A612-3EE402F6720B}"/>
          </ac:spMkLst>
        </pc:spChg>
      </pc:sldChg>
      <pc:sldChg chg="addSp delSp modSp new mod modClrScheme chgLayout">
        <pc:chgData name="Dan Mallott" userId="dcb254b6-3083-4a8e-a95c-2824abb75bec" providerId="ADAL" clId="{EDF15544-1E4F-2C46-8CA1-28C465275CC4}" dt="2021-09-08T17:40:35.977" v="7409" actId="20577"/>
        <pc:sldMkLst>
          <pc:docMk/>
          <pc:sldMk cId="1948864351" sldId="3924"/>
        </pc:sldMkLst>
        <pc:spChg chg="del mod ord">
          <ac:chgData name="Dan Mallott" userId="dcb254b6-3083-4a8e-a95c-2824abb75bec" providerId="ADAL" clId="{EDF15544-1E4F-2C46-8CA1-28C465275CC4}" dt="2021-09-08T15:54:45.835" v="6317" actId="700"/>
          <ac:spMkLst>
            <pc:docMk/>
            <pc:sldMk cId="1948864351" sldId="3924"/>
            <ac:spMk id="2" creationId="{42C4A027-D989-5449-A9D4-3B2122EA0272}"/>
          </ac:spMkLst>
        </pc:spChg>
        <pc:spChg chg="mod ord">
          <ac:chgData name="Dan Mallott" userId="dcb254b6-3083-4a8e-a95c-2824abb75bec" providerId="ADAL" clId="{EDF15544-1E4F-2C46-8CA1-28C465275CC4}" dt="2021-09-08T15:54:45.835" v="6317" actId="700"/>
          <ac:spMkLst>
            <pc:docMk/>
            <pc:sldMk cId="1948864351" sldId="3924"/>
            <ac:spMk id="3" creationId="{6FA03D9A-47BE-3743-9EA4-48D809EB15A2}"/>
          </ac:spMkLst>
        </pc:spChg>
        <pc:spChg chg="add mod ord">
          <ac:chgData name="Dan Mallott" userId="dcb254b6-3083-4a8e-a95c-2824abb75bec" providerId="ADAL" clId="{EDF15544-1E4F-2C46-8CA1-28C465275CC4}" dt="2021-09-08T15:55:02.579" v="6353" actId="255"/>
          <ac:spMkLst>
            <pc:docMk/>
            <pc:sldMk cId="1948864351" sldId="3924"/>
            <ac:spMk id="4" creationId="{AD8A0916-83CE-814A-B736-7A5B1A689A15}"/>
          </ac:spMkLst>
        </pc:spChg>
        <pc:spChg chg="add del mod ord">
          <ac:chgData name="Dan Mallott" userId="dcb254b6-3083-4a8e-a95c-2824abb75bec" providerId="ADAL" clId="{EDF15544-1E4F-2C46-8CA1-28C465275CC4}" dt="2021-09-08T16:09:34.655" v="6354" actId="478"/>
          <ac:spMkLst>
            <pc:docMk/>
            <pc:sldMk cId="1948864351" sldId="3924"/>
            <ac:spMk id="5" creationId="{F6E7A322-2766-9346-A258-9E6DED5C1089}"/>
          </ac:spMkLst>
        </pc:spChg>
        <pc:spChg chg="add mod ord">
          <ac:chgData name="Dan Mallott" userId="dcb254b6-3083-4a8e-a95c-2824abb75bec" providerId="ADAL" clId="{EDF15544-1E4F-2C46-8CA1-28C465275CC4}" dt="2021-09-08T15:54:50.597" v="6332" actId="20577"/>
          <ac:spMkLst>
            <pc:docMk/>
            <pc:sldMk cId="1948864351" sldId="3924"/>
            <ac:spMk id="6" creationId="{0295C917-8B2F-624F-B6E1-C052D04FA8DF}"/>
          </ac:spMkLst>
        </pc:spChg>
        <pc:spChg chg="mod">
          <ac:chgData name="Dan Mallott" userId="dcb254b6-3083-4a8e-a95c-2824abb75bec" providerId="ADAL" clId="{EDF15544-1E4F-2C46-8CA1-28C465275CC4}" dt="2021-09-08T16:09:35.539" v="6355"/>
          <ac:spMkLst>
            <pc:docMk/>
            <pc:sldMk cId="1948864351" sldId="3924"/>
            <ac:spMk id="8" creationId="{40FC8BF4-1B25-D04E-B2BC-B7249D8AA59D}"/>
          </ac:spMkLst>
        </pc:spChg>
        <pc:spChg chg="mod">
          <ac:chgData name="Dan Mallott" userId="dcb254b6-3083-4a8e-a95c-2824abb75bec" providerId="ADAL" clId="{EDF15544-1E4F-2C46-8CA1-28C465275CC4}" dt="2021-09-08T16:09:35.539" v="6355"/>
          <ac:spMkLst>
            <pc:docMk/>
            <pc:sldMk cId="1948864351" sldId="3924"/>
            <ac:spMk id="9" creationId="{50F43B05-90B7-A74E-9E2B-7F97B1328F0A}"/>
          </ac:spMkLst>
        </pc:spChg>
        <pc:spChg chg="mod">
          <ac:chgData name="Dan Mallott" userId="dcb254b6-3083-4a8e-a95c-2824abb75bec" providerId="ADAL" clId="{EDF15544-1E4F-2C46-8CA1-28C465275CC4}" dt="2021-09-08T16:09:35.539" v="6355"/>
          <ac:spMkLst>
            <pc:docMk/>
            <pc:sldMk cId="1948864351" sldId="3924"/>
            <ac:spMk id="11" creationId="{D004E7B4-B297-A040-825C-E038898991D4}"/>
          </ac:spMkLst>
        </pc:spChg>
        <pc:spChg chg="mod">
          <ac:chgData name="Dan Mallott" userId="dcb254b6-3083-4a8e-a95c-2824abb75bec" providerId="ADAL" clId="{EDF15544-1E4F-2C46-8CA1-28C465275CC4}" dt="2021-09-08T16:09:35.539" v="6355"/>
          <ac:spMkLst>
            <pc:docMk/>
            <pc:sldMk cId="1948864351" sldId="3924"/>
            <ac:spMk id="12" creationId="{40F35BA0-3C32-0242-93B0-0B2C43EE487B}"/>
          </ac:spMkLst>
        </pc:spChg>
        <pc:spChg chg="mod">
          <ac:chgData name="Dan Mallott" userId="dcb254b6-3083-4a8e-a95c-2824abb75bec" providerId="ADAL" clId="{EDF15544-1E4F-2C46-8CA1-28C465275CC4}" dt="2021-09-08T16:09:35.539" v="6355"/>
          <ac:spMkLst>
            <pc:docMk/>
            <pc:sldMk cId="1948864351" sldId="3924"/>
            <ac:spMk id="14" creationId="{7787B6C0-D2E5-EC44-A8D3-51750DF907D1}"/>
          </ac:spMkLst>
        </pc:spChg>
        <pc:spChg chg="mod">
          <ac:chgData name="Dan Mallott" userId="dcb254b6-3083-4a8e-a95c-2824abb75bec" providerId="ADAL" clId="{EDF15544-1E4F-2C46-8CA1-28C465275CC4}" dt="2021-09-08T16:09:35.539" v="6355"/>
          <ac:spMkLst>
            <pc:docMk/>
            <pc:sldMk cId="1948864351" sldId="3924"/>
            <ac:spMk id="15" creationId="{D74613B6-1DBF-B14C-B52A-741C63780834}"/>
          </ac:spMkLst>
        </pc:spChg>
        <pc:spChg chg="mod">
          <ac:chgData name="Dan Mallott" userId="dcb254b6-3083-4a8e-a95c-2824abb75bec" providerId="ADAL" clId="{EDF15544-1E4F-2C46-8CA1-28C465275CC4}" dt="2021-09-08T16:09:35.539" v="6355"/>
          <ac:spMkLst>
            <pc:docMk/>
            <pc:sldMk cId="1948864351" sldId="3924"/>
            <ac:spMk id="17" creationId="{344A6256-85CC-ED42-BE89-4EBD889B49BC}"/>
          </ac:spMkLst>
        </pc:spChg>
        <pc:spChg chg="mod">
          <ac:chgData name="Dan Mallott" userId="dcb254b6-3083-4a8e-a95c-2824abb75bec" providerId="ADAL" clId="{EDF15544-1E4F-2C46-8CA1-28C465275CC4}" dt="2021-09-08T16:09:35.539" v="6355"/>
          <ac:spMkLst>
            <pc:docMk/>
            <pc:sldMk cId="1948864351" sldId="3924"/>
            <ac:spMk id="18" creationId="{F45E49F2-C76E-F84C-AAA2-24F1AC01FDA4}"/>
          </ac:spMkLst>
        </pc:spChg>
        <pc:spChg chg="mod">
          <ac:chgData name="Dan Mallott" userId="dcb254b6-3083-4a8e-a95c-2824abb75bec" providerId="ADAL" clId="{EDF15544-1E4F-2C46-8CA1-28C465275CC4}" dt="2021-09-08T16:09:35.539" v="6355"/>
          <ac:spMkLst>
            <pc:docMk/>
            <pc:sldMk cId="1948864351" sldId="3924"/>
            <ac:spMk id="20" creationId="{862AB6B5-D8D7-B64E-BC78-A2DE8B017BD7}"/>
          </ac:spMkLst>
        </pc:spChg>
        <pc:spChg chg="mod">
          <ac:chgData name="Dan Mallott" userId="dcb254b6-3083-4a8e-a95c-2824abb75bec" providerId="ADAL" clId="{EDF15544-1E4F-2C46-8CA1-28C465275CC4}" dt="2021-09-08T16:09:35.539" v="6355"/>
          <ac:spMkLst>
            <pc:docMk/>
            <pc:sldMk cId="1948864351" sldId="3924"/>
            <ac:spMk id="21" creationId="{A6188C16-F021-004B-AB1A-980D0E1D7D19}"/>
          </ac:spMkLst>
        </pc:spChg>
        <pc:spChg chg="mod">
          <ac:chgData name="Dan Mallott" userId="dcb254b6-3083-4a8e-a95c-2824abb75bec" providerId="ADAL" clId="{EDF15544-1E4F-2C46-8CA1-28C465275CC4}" dt="2021-09-08T16:09:35.539" v="6355"/>
          <ac:spMkLst>
            <pc:docMk/>
            <pc:sldMk cId="1948864351" sldId="3924"/>
            <ac:spMk id="23" creationId="{B6E11305-8895-ED40-B483-B232574F1AD4}"/>
          </ac:spMkLst>
        </pc:spChg>
        <pc:spChg chg="mod">
          <ac:chgData name="Dan Mallott" userId="dcb254b6-3083-4a8e-a95c-2824abb75bec" providerId="ADAL" clId="{EDF15544-1E4F-2C46-8CA1-28C465275CC4}" dt="2021-09-08T16:09:35.539" v="6355"/>
          <ac:spMkLst>
            <pc:docMk/>
            <pc:sldMk cId="1948864351" sldId="3924"/>
            <ac:spMk id="24" creationId="{3885401B-0F7E-5C42-9DA1-A98014A3AA9E}"/>
          </ac:spMkLst>
        </pc:spChg>
        <pc:spChg chg="add mod">
          <ac:chgData name="Dan Mallott" userId="dcb254b6-3083-4a8e-a95c-2824abb75bec" providerId="ADAL" clId="{EDF15544-1E4F-2C46-8CA1-28C465275CC4}" dt="2021-09-08T16:14:20.285" v="6383" actId="20577"/>
          <ac:spMkLst>
            <pc:docMk/>
            <pc:sldMk cId="1948864351" sldId="3924"/>
            <ac:spMk id="25" creationId="{ED6F6719-85ED-564E-85DA-D4A9303A758B}"/>
          </ac:spMkLst>
        </pc:spChg>
        <pc:spChg chg="add mod">
          <ac:chgData name="Dan Mallott" userId="dcb254b6-3083-4a8e-a95c-2824abb75bec" providerId="ADAL" clId="{EDF15544-1E4F-2C46-8CA1-28C465275CC4}" dt="2021-09-08T16:14:57.848" v="6524" actId="1076"/>
          <ac:spMkLst>
            <pc:docMk/>
            <pc:sldMk cId="1948864351" sldId="3924"/>
            <ac:spMk id="26" creationId="{6329A0EB-DB8D-FF4A-A147-EC1127AAC5EF}"/>
          </ac:spMkLst>
        </pc:spChg>
        <pc:spChg chg="add mod">
          <ac:chgData name="Dan Mallott" userId="dcb254b6-3083-4a8e-a95c-2824abb75bec" providerId="ADAL" clId="{EDF15544-1E4F-2C46-8CA1-28C465275CC4}" dt="2021-09-08T16:15:21.875" v="6565" actId="14100"/>
          <ac:spMkLst>
            <pc:docMk/>
            <pc:sldMk cId="1948864351" sldId="3924"/>
            <ac:spMk id="27" creationId="{0A1ADD4E-D823-9A4B-9413-B646A78A635B}"/>
          </ac:spMkLst>
        </pc:spChg>
        <pc:spChg chg="add mod">
          <ac:chgData name="Dan Mallott" userId="dcb254b6-3083-4a8e-a95c-2824abb75bec" providerId="ADAL" clId="{EDF15544-1E4F-2C46-8CA1-28C465275CC4}" dt="2021-09-08T16:16:04.060" v="6710" actId="14100"/>
          <ac:spMkLst>
            <pc:docMk/>
            <pc:sldMk cId="1948864351" sldId="3924"/>
            <ac:spMk id="28" creationId="{20B66531-F6EC-7E4E-BC7D-575C8A24E751}"/>
          </ac:spMkLst>
        </pc:spChg>
        <pc:spChg chg="add mod">
          <ac:chgData name="Dan Mallott" userId="dcb254b6-3083-4a8e-a95c-2824abb75bec" providerId="ADAL" clId="{EDF15544-1E4F-2C46-8CA1-28C465275CC4}" dt="2021-09-08T16:16:25.814" v="6755" actId="14100"/>
          <ac:spMkLst>
            <pc:docMk/>
            <pc:sldMk cId="1948864351" sldId="3924"/>
            <ac:spMk id="29" creationId="{411F65B9-FDB7-8F44-8424-C7341ABA84A0}"/>
          </ac:spMkLst>
        </pc:spChg>
        <pc:spChg chg="add mod">
          <ac:chgData name="Dan Mallott" userId="dcb254b6-3083-4a8e-a95c-2824abb75bec" providerId="ADAL" clId="{EDF15544-1E4F-2C46-8CA1-28C465275CC4}" dt="2021-09-08T16:17:26.707" v="6904" actId="20577"/>
          <ac:spMkLst>
            <pc:docMk/>
            <pc:sldMk cId="1948864351" sldId="3924"/>
            <ac:spMk id="30" creationId="{D0F65A23-EE64-FA40-9620-58CA27403ECA}"/>
          </ac:spMkLst>
        </pc:spChg>
        <pc:spChg chg="add mod">
          <ac:chgData name="Dan Mallott" userId="dcb254b6-3083-4a8e-a95c-2824abb75bec" providerId="ADAL" clId="{EDF15544-1E4F-2C46-8CA1-28C465275CC4}" dt="2021-09-08T16:23:43.446" v="6947" actId="20577"/>
          <ac:spMkLst>
            <pc:docMk/>
            <pc:sldMk cId="1948864351" sldId="3924"/>
            <ac:spMk id="31" creationId="{75445C27-C737-6F4B-B371-08BC1E800AC8}"/>
          </ac:spMkLst>
        </pc:spChg>
        <pc:spChg chg="add mod">
          <ac:chgData name="Dan Mallott" userId="dcb254b6-3083-4a8e-a95c-2824abb75bec" providerId="ADAL" clId="{EDF15544-1E4F-2C46-8CA1-28C465275CC4}" dt="2021-09-08T16:24:12.898" v="7075" actId="20577"/>
          <ac:spMkLst>
            <pc:docMk/>
            <pc:sldMk cId="1948864351" sldId="3924"/>
            <ac:spMk id="32" creationId="{14E805B0-4C7D-764E-A54F-7C21D5D63E62}"/>
          </ac:spMkLst>
        </pc:spChg>
        <pc:spChg chg="add mod">
          <ac:chgData name="Dan Mallott" userId="dcb254b6-3083-4a8e-a95c-2824abb75bec" providerId="ADAL" clId="{EDF15544-1E4F-2C46-8CA1-28C465275CC4}" dt="2021-09-08T16:33:12.289" v="7269" actId="14100"/>
          <ac:spMkLst>
            <pc:docMk/>
            <pc:sldMk cId="1948864351" sldId="3924"/>
            <ac:spMk id="33" creationId="{55BD4DBE-7B22-9F4A-9FAB-9207251CA515}"/>
          </ac:spMkLst>
        </pc:spChg>
        <pc:spChg chg="add mod">
          <ac:chgData name="Dan Mallott" userId="dcb254b6-3083-4a8e-a95c-2824abb75bec" providerId="ADAL" clId="{EDF15544-1E4F-2C46-8CA1-28C465275CC4}" dt="2021-09-08T17:40:35.977" v="7409" actId="20577"/>
          <ac:spMkLst>
            <pc:docMk/>
            <pc:sldMk cId="1948864351" sldId="3924"/>
            <ac:spMk id="34" creationId="{544850F7-DC7E-5B4D-9749-8E51EE1DDB45}"/>
          </ac:spMkLst>
        </pc:spChg>
        <pc:spChg chg="add mod">
          <ac:chgData name="Dan Mallott" userId="dcb254b6-3083-4a8e-a95c-2824abb75bec" providerId="ADAL" clId="{EDF15544-1E4F-2C46-8CA1-28C465275CC4}" dt="2021-09-08T16:24:54.860" v="7100" actId="14100"/>
          <ac:spMkLst>
            <pc:docMk/>
            <pc:sldMk cId="1948864351" sldId="3924"/>
            <ac:spMk id="35" creationId="{E18191D9-AD64-3A4B-AE78-E80E56E89855}"/>
          </ac:spMkLst>
        </pc:spChg>
        <pc:spChg chg="add mod">
          <ac:chgData name="Dan Mallott" userId="dcb254b6-3083-4a8e-a95c-2824abb75bec" providerId="ADAL" clId="{EDF15544-1E4F-2C46-8CA1-28C465275CC4}" dt="2021-09-08T16:25:21.575" v="7242" actId="20577"/>
          <ac:spMkLst>
            <pc:docMk/>
            <pc:sldMk cId="1948864351" sldId="3924"/>
            <ac:spMk id="36" creationId="{F47ED699-88A4-E143-89DC-45C2DD635FBE}"/>
          </ac:spMkLst>
        </pc:spChg>
        <pc:grpChg chg="add mod">
          <ac:chgData name="Dan Mallott" userId="dcb254b6-3083-4a8e-a95c-2824abb75bec" providerId="ADAL" clId="{EDF15544-1E4F-2C46-8CA1-28C465275CC4}" dt="2021-09-08T16:09:35.539" v="6355"/>
          <ac:grpSpMkLst>
            <pc:docMk/>
            <pc:sldMk cId="1948864351" sldId="3924"/>
            <ac:grpSpMk id="7" creationId="{8F575FEF-EEB5-A34B-9E74-0DDAB57E0AF4}"/>
          </ac:grpSpMkLst>
        </pc:grpChg>
        <pc:grpChg chg="add mod">
          <ac:chgData name="Dan Mallott" userId="dcb254b6-3083-4a8e-a95c-2824abb75bec" providerId="ADAL" clId="{EDF15544-1E4F-2C46-8CA1-28C465275CC4}" dt="2021-09-08T16:09:35.539" v="6355"/>
          <ac:grpSpMkLst>
            <pc:docMk/>
            <pc:sldMk cId="1948864351" sldId="3924"/>
            <ac:grpSpMk id="10" creationId="{6BE285AD-7650-594C-8A6A-66E8248CA72F}"/>
          </ac:grpSpMkLst>
        </pc:grpChg>
        <pc:grpChg chg="add mod">
          <ac:chgData name="Dan Mallott" userId="dcb254b6-3083-4a8e-a95c-2824abb75bec" providerId="ADAL" clId="{EDF15544-1E4F-2C46-8CA1-28C465275CC4}" dt="2021-09-08T16:09:35.539" v="6355"/>
          <ac:grpSpMkLst>
            <pc:docMk/>
            <pc:sldMk cId="1948864351" sldId="3924"/>
            <ac:grpSpMk id="13" creationId="{4CC81033-C19D-7D41-9AF3-7E6FA0B9B317}"/>
          </ac:grpSpMkLst>
        </pc:grpChg>
        <pc:grpChg chg="add mod">
          <ac:chgData name="Dan Mallott" userId="dcb254b6-3083-4a8e-a95c-2824abb75bec" providerId="ADAL" clId="{EDF15544-1E4F-2C46-8CA1-28C465275CC4}" dt="2021-09-08T16:09:35.539" v="6355"/>
          <ac:grpSpMkLst>
            <pc:docMk/>
            <pc:sldMk cId="1948864351" sldId="3924"/>
            <ac:grpSpMk id="16" creationId="{E1F2012E-DCB4-B042-8973-EB8BE4397D53}"/>
          </ac:grpSpMkLst>
        </pc:grpChg>
        <pc:grpChg chg="add mod">
          <ac:chgData name="Dan Mallott" userId="dcb254b6-3083-4a8e-a95c-2824abb75bec" providerId="ADAL" clId="{EDF15544-1E4F-2C46-8CA1-28C465275CC4}" dt="2021-09-08T16:09:35.539" v="6355"/>
          <ac:grpSpMkLst>
            <pc:docMk/>
            <pc:sldMk cId="1948864351" sldId="3924"/>
            <ac:grpSpMk id="19" creationId="{60FFDD2A-67BF-574D-8266-F3416DBD7AF8}"/>
          </ac:grpSpMkLst>
        </pc:grpChg>
        <pc:grpChg chg="add mod">
          <ac:chgData name="Dan Mallott" userId="dcb254b6-3083-4a8e-a95c-2824abb75bec" providerId="ADAL" clId="{EDF15544-1E4F-2C46-8CA1-28C465275CC4}" dt="2021-09-08T16:09:35.539" v="6355"/>
          <ac:grpSpMkLst>
            <pc:docMk/>
            <pc:sldMk cId="1948864351" sldId="3924"/>
            <ac:grpSpMk id="22" creationId="{18052D23-4B1F-8941-84DB-F2E70345E0E2}"/>
          </ac:grpSpMkLst>
        </pc:grpChg>
      </pc:sldChg>
      <pc:sldChg chg="addSp delSp modSp new mod">
        <pc:chgData name="Dan Mallott" userId="dcb254b6-3083-4a8e-a95c-2824abb75bec" providerId="ADAL" clId="{EDF15544-1E4F-2C46-8CA1-28C465275CC4}" dt="2021-09-08T18:47:00.284" v="7633" actId="2711"/>
        <pc:sldMkLst>
          <pc:docMk/>
          <pc:sldMk cId="3644698719" sldId="3925"/>
        </pc:sldMkLst>
        <pc:spChg chg="mod">
          <ac:chgData name="Dan Mallott" userId="dcb254b6-3083-4a8e-a95c-2824abb75bec" providerId="ADAL" clId="{EDF15544-1E4F-2C46-8CA1-28C465275CC4}" dt="2021-09-08T17:59:53.953" v="7448" actId="255"/>
          <ac:spMkLst>
            <pc:docMk/>
            <pc:sldMk cId="3644698719" sldId="3925"/>
            <ac:spMk id="2" creationId="{8976EF9A-8183-0545-ACCC-B90EE6983AF9}"/>
          </ac:spMkLst>
        </pc:spChg>
        <pc:spChg chg="mod">
          <ac:chgData name="Dan Mallott" userId="dcb254b6-3083-4a8e-a95c-2824abb75bec" providerId="ADAL" clId="{EDF15544-1E4F-2C46-8CA1-28C465275CC4}" dt="2021-09-08T18:47:00.284" v="7633" actId="2711"/>
          <ac:spMkLst>
            <pc:docMk/>
            <pc:sldMk cId="3644698719" sldId="3925"/>
            <ac:spMk id="3" creationId="{1B7A2473-D4FB-EA42-9B51-94B5DCA330B2}"/>
          </ac:spMkLst>
        </pc:spChg>
        <pc:spChg chg="mod">
          <ac:chgData name="Dan Mallott" userId="dcb254b6-3083-4a8e-a95c-2824abb75bec" providerId="ADAL" clId="{EDF15544-1E4F-2C46-8CA1-28C465275CC4}" dt="2021-09-08T17:59:42.826" v="7425" actId="20577"/>
          <ac:spMkLst>
            <pc:docMk/>
            <pc:sldMk cId="3644698719" sldId="3925"/>
            <ac:spMk id="4" creationId="{AAC46421-B482-BC4E-ACD2-BC8E2124C545}"/>
          </ac:spMkLst>
        </pc:spChg>
        <pc:spChg chg="add mod">
          <ac:chgData name="Dan Mallott" userId="dcb254b6-3083-4a8e-a95c-2824abb75bec" providerId="ADAL" clId="{EDF15544-1E4F-2C46-8CA1-28C465275CC4}" dt="2021-09-08T18:43:56.789" v="7623" actId="1076"/>
          <ac:spMkLst>
            <pc:docMk/>
            <pc:sldMk cId="3644698719" sldId="3925"/>
            <ac:spMk id="15" creationId="{97098150-E719-D247-82BC-6F430291660F}"/>
          </ac:spMkLst>
        </pc:spChg>
        <pc:spChg chg="add mod">
          <ac:chgData name="Dan Mallott" userId="dcb254b6-3083-4a8e-a95c-2824abb75bec" providerId="ADAL" clId="{EDF15544-1E4F-2C46-8CA1-28C465275CC4}" dt="2021-09-08T18:44:17.234" v="7631" actId="1035"/>
          <ac:spMkLst>
            <pc:docMk/>
            <pc:sldMk cId="3644698719" sldId="3925"/>
            <ac:spMk id="16" creationId="{2539A955-51A1-7641-8E62-E614B3BCC6FB}"/>
          </ac:spMkLst>
        </pc:spChg>
        <pc:picChg chg="add mod">
          <ac:chgData name="Dan Mallott" userId="dcb254b6-3083-4a8e-a95c-2824abb75bec" providerId="ADAL" clId="{EDF15544-1E4F-2C46-8CA1-28C465275CC4}" dt="2021-09-08T18:39:04.312" v="7600" actId="1076"/>
          <ac:picMkLst>
            <pc:docMk/>
            <pc:sldMk cId="3644698719" sldId="3925"/>
            <ac:picMk id="7" creationId="{1CA73081-91C5-E64D-A70B-AE47764D8C7B}"/>
          </ac:picMkLst>
        </pc:picChg>
        <pc:picChg chg="add mod">
          <ac:chgData name="Dan Mallott" userId="dcb254b6-3083-4a8e-a95c-2824abb75bec" providerId="ADAL" clId="{EDF15544-1E4F-2C46-8CA1-28C465275CC4}" dt="2021-09-08T18:39:13.105" v="7603" actId="1076"/>
          <ac:picMkLst>
            <pc:docMk/>
            <pc:sldMk cId="3644698719" sldId="3925"/>
            <ac:picMk id="9" creationId="{C8782888-E2F4-E14A-8A7F-3E9E8AE1079C}"/>
          </ac:picMkLst>
        </pc:picChg>
        <pc:picChg chg="add mod">
          <ac:chgData name="Dan Mallott" userId="dcb254b6-3083-4a8e-a95c-2824abb75bec" providerId="ADAL" clId="{EDF15544-1E4F-2C46-8CA1-28C465275CC4}" dt="2021-09-08T18:39:09.470" v="7602" actId="571"/>
          <ac:picMkLst>
            <pc:docMk/>
            <pc:sldMk cId="3644698719" sldId="3925"/>
            <ac:picMk id="10" creationId="{5B22DA1B-8F22-F34C-AE37-1680A8B0511D}"/>
          </ac:picMkLst>
        </pc:picChg>
        <pc:picChg chg="add del mod">
          <ac:chgData name="Dan Mallott" userId="dcb254b6-3083-4a8e-a95c-2824abb75bec" providerId="ADAL" clId="{EDF15544-1E4F-2C46-8CA1-28C465275CC4}" dt="2021-09-08T18:40:27.593" v="7608" actId="478"/>
          <ac:picMkLst>
            <pc:docMk/>
            <pc:sldMk cId="3644698719" sldId="3925"/>
            <ac:picMk id="12" creationId="{EF062026-3107-CE4F-B5B2-C3486C19C254}"/>
          </ac:picMkLst>
        </pc:picChg>
        <pc:picChg chg="add mod">
          <ac:chgData name="Dan Mallott" userId="dcb254b6-3083-4a8e-a95c-2824abb75bec" providerId="ADAL" clId="{EDF15544-1E4F-2C46-8CA1-28C465275CC4}" dt="2021-09-08T18:41:13.599" v="7615" actId="1076"/>
          <ac:picMkLst>
            <pc:docMk/>
            <pc:sldMk cId="3644698719" sldId="3925"/>
            <ac:picMk id="14" creationId="{99145779-ECBB-6447-A08F-8506038429B5}"/>
          </ac:picMkLst>
        </pc:picChg>
      </pc:sldChg>
      <pc:sldChg chg="modSp new mod">
        <pc:chgData name="Dan Mallott" userId="dcb254b6-3083-4a8e-a95c-2824abb75bec" providerId="ADAL" clId="{EDF15544-1E4F-2C46-8CA1-28C465275CC4}" dt="2021-09-08T18:54:12.496" v="7694" actId="114"/>
        <pc:sldMkLst>
          <pc:docMk/>
          <pc:sldMk cId="722476995" sldId="3926"/>
        </pc:sldMkLst>
        <pc:spChg chg="mod">
          <ac:chgData name="Dan Mallott" userId="dcb254b6-3083-4a8e-a95c-2824abb75bec" providerId="ADAL" clId="{EDF15544-1E4F-2C46-8CA1-28C465275CC4}" dt="2021-09-08T18:54:12.496" v="7694" actId="114"/>
          <ac:spMkLst>
            <pc:docMk/>
            <pc:sldMk cId="722476995" sldId="3926"/>
            <ac:spMk id="2" creationId="{A666C5B4-617C-0F41-B703-596339B3F745}"/>
          </ac:spMkLst>
        </pc:spChg>
      </pc:sldChg>
      <pc:sldChg chg="modSp new mod">
        <pc:chgData name="Dan Mallott" userId="dcb254b6-3083-4a8e-a95c-2824abb75bec" providerId="ADAL" clId="{EDF15544-1E4F-2C46-8CA1-28C465275CC4}" dt="2021-09-08T18:54:23.211" v="7704" actId="20577"/>
        <pc:sldMkLst>
          <pc:docMk/>
          <pc:sldMk cId="2438865022" sldId="3927"/>
        </pc:sldMkLst>
        <pc:spChg chg="mod">
          <ac:chgData name="Dan Mallott" userId="dcb254b6-3083-4a8e-a95c-2824abb75bec" providerId="ADAL" clId="{EDF15544-1E4F-2C46-8CA1-28C465275CC4}" dt="2021-09-08T18:54:23.211" v="7704" actId="20577"/>
          <ac:spMkLst>
            <pc:docMk/>
            <pc:sldMk cId="2438865022" sldId="3927"/>
            <ac:spMk id="2" creationId="{7F1810BC-C398-A24A-B7FF-96E238EFC192}"/>
          </ac:spMkLst>
        </pc:spChg>
      </pc:sldChg>
      <pc:sldChg chg="modSp new mod">
        <pc:chgData name="Dan Mallott" userId="dcb254b6-3083-4a8e-a95c-2824abb75bec" providerId="ADAL" clId="{EDF15544-1E4F-2C46-8CA1-28C465275CC4}" dt="2021-09-08T18:54:34.470" v="7721" actId="20577"/>
        <pc:sldMkLst>
          <pc:docMk/>
          <pc:sldMk cId="587308287" sldId="3928"/>
        </pc:sldMkLst>
        <pc:spChg chg="mod">
          <ac:chgData name="Dan Mallott" userId="dcb254b6-3083-4a8e-a95c-2824abb75bec" providerId="ADAL" clId="{EDF15544-1E4F-2C46-8CA1-28C465275CC4}" dt="2021-09-08T18:54:34.470" v="7721" actId="20577"/>
          <ac:spMkLst>
            <pc:docMk/>
            <pc:sldMk cId="587308287" sldId="3928"/>
            <ac:spMk id="2" creationId="{A33F456E-075A-7F4E-94A1-71EFBE152234}"/>
          </ac:spMkLst>
        </pc:spChg>
      </pc:sldChg>
      <pc:sldChg chg="addSp delSp modSp new mod modClrScheme chgLayout">
        <pc:chgData name="Dan Mallott" userId="dcb254b6-3083-4a8e-a95c-2824abb75bec" providerId="ADAL" clId="{EDF15544-1E4F-2C46-8CA1-28C465275CC4}" dt="2021-09-08T21:11:10.435" v="9083" actId="20577"/>
        <pc:sldMkLst>
          <pc:docMk/>
          <pc:sldMk cId="1471809281" sldId="3929"/>
        </pc:sldMkLst>
        <pc:spChg chg="del mod ord">
          <ac:chgData name="Dan Mallott" userId="dcb254b6-3083-4a8e-a95c-2824abb75bec" providerId="ADAL" clId="{EDF15544-1E4F-2C46-8CA1-28C465275CC4}" dt="2021-09-08T18:54:43.791" v="7723" actId="700"/>
          <ac:spMkLst>
            <pc:docMk/>
            <pc:sldMk cId="1471809281" sldId="3929"/>
            <ac:spMk id="2" creationId="{9E124B77-9C19-9B43-9292-C6453DC02A2A}"/>
          </ac:spMkLst>
        </pc:spChg>
        <pc:spChg chg="mod ord">
          <ac:chgData name="Dan Mallott" userId="dcb254b6-3083-4a8e-a95c-2824abb75bec" providerId="ADAL" clId="{EDF15544-1E4F-2C46-8CA1-28C465275CC4}" dt="2021-09-08T18:54:43.791" v="7723" actId="700"/>
          <ac:spMkLst>
            <pc:docMk/>
            <pc:sldMk cId="1471809281" sldId="3929"/>
            <ac:spMk id="3" creationId="{57940E1C-FCA2-574B-8BDF-2BEA90098A41}"/>
          </ac:spMkLst>
        </pc:spChg>
        <pc:spChg chg="add mod ord">
          <ac:chgData name="Dan Mallott" userId="dcb254b6-3083-4a8e-a95c-2824abb75bec" providerId="ADAL" clId="{EDF15544-1E4F-2C46-8CA1-28C465275CC4}" dt="2021-09-08T20:28:16.585" v="8594" actId="20577"/>
          <ac:spMkLst>
            <pc:docMk/>
            <pc:sldMk cId="1471809281" sldId="3929"/>
            <ac:spMk id="4" creationId="{23D220EB-7FA1-4044-86AD-2DBB9E61E3DE}"/>
          </ac:spMkLst>
        </pc:spChg>
        <pc:spChg chg="add del mod ord">
          <ac:chgData name="Dan Mallott" userId="dcb254b6-3083-4a8e-a95c-2824abb75bec" providerId="ADAL" clId="{EDF15544-1E4F-2C46-8CA1-28C465275CC4}" dt="2021-09-08T21:01:07.635" v="8595" actId="478"/>
          <ac:spMkLst>
            <pc:docMk/>
            <pc:sldMk cId="1471809281" sldId="3929"/>
            <ac:spMk id="5" creationId="{F52FDBE8-BEA1-E443-B00C-F50657109068}"/>
          </ac:spMkLst>
        </pc:spChg>
        <pc:spChg chg="add mod ord">
          <ac:chgData name="Dan Mallott" userId="dcb254b6-3083-4a8e-a95c-2824abb75bec" providerId="ADAL" clId="{EDF15544-1E4F-2C46-8CA1-28C465275CC4}" dt="2021-09-08T19:48:01.107" v="7737" actId="20577"/>
          <ac:spMkLst>
            <pc:docMk/>
            <pc:sldMk cId="1471809281" sldId="3929"/>
            <ac:spMk id="6" creationId="{C8DEE4CE-12E9-BF4A-91B7-B911978139BD}"/>
          </ac:spMkLst>
        </pc:spChg>
        <pc:spChg chg="add del mod">
          <ac:chgData name="Dan Mallott" userId="dcb254b6-3083-4a8e-a95c-2824abb75bec" providerId="ADAL" clId="{EDF15544-1E4F-2C46-8CA1-28C465275CC4}" dt="2021-09-08T21:01:19.834" v="8597"/>
          <ac:spMkLst>
            <pc:docMk/>
            <pc:sldMk cId="1471809281" sldId="3929"/>
            <ac:spMk id="7" creationId="{954D328F-FB54-C249-BCDC-33361EFF31FC}"/>
          </ac:spMkLst>
        </pc:spChg>
        <pc:spChg chg="add del mod">
          <ac:chgData name="Dan Mallott" userId="dcb254b6-3083-4a8e-a95c-2824abb75bec" providerId="ADAL" clId="{EDF15544-1E4F-2C46-8CA1-28C465275CC4}" dt="2021-09-08T21:01:19.834" v="8597"/>
          <ac:spMkLst>
            <pc:docMk/>
            <pc:sldMk cId="1471809281" sldId="3929"/>
            <ac:spMk id="8" creationId="{946B1223-E4E5-3641-93BD-DE005538B8CF}"/>
          </ac:spMkLst>
        </pc:spChg>
        <pc:spChg chg="add del mod">
          <ac:chgData name="Dan Mallott" userId="dcb254b6-3083-4a8e-a95c-2824abb75bec" providerId="ADAL" clId="{EDF15544-1E4F-2C46-8CA1-28C465275CC4}" dt="2021-09-08T21:01:19.834" v="8597"/>
          <ac:spMkLst>
            <pc:docMk/>
            <pc:sldMk cId="1471809281" sldId="3929"/>
            <ac:spMk id="9" creationId="{7EB0005D-163F-5448-9186-606A6358F3C9}"/>
          </ac:spMkLst>
        </pc:spChg>
        <pc:spChg chg="add del mod">
          <ac:chgData name="Dan Mallott" userId="dcb254b6-3083-4a8e-a95c-2824abb75bec" providerId="ADAL" clId="{EDF15544-1E4F-2C46-8CA1-28C465275CC4}" dt="2021-09-08T21:01:19.834" v="8597"/>
          <ac:spMkLst>
            <pc:docMk/>
            <pc:sldMk cId="1471809281" sldId="3929"/>
            <ac:spMk id="10" creationId="{4DB912C2-7D93-7346-BF34-8CC0C77CA68C}"/>
          </ac:spMkLst>
        </pc:spChg>
        <pc:spChg chg="add del mod">
          <ac:chgData name="Dan Mallott" userId="dcb254b6-3083-4a8e-a95c-2824abb75bec" providerId="ADAL" clId="{EDF15544-1E4F-2C46-8CA1-28C465275CC4}" dt="2021-09-08T21:01:19.834" v="8597"/>
          <ac:spMkLst>
            <pc:docMk/>
            <pc:sldMk cId="1471809281" sldId="3929"/>
            <ac:spMk id="11" creationId="{E48488D5-6316-B149-B0EB-0668AF7EA9D0}"/>
          </ac:spMkLst>
        </pc:spChg>
        <pc:spChg chg="add del mod">
          <ac:chgData name="Dan Mallott" userId="dcb254b6-3083-4a8e-a95c-2824abb75bec" providerId="ADAL" clId="{EDF15544-1E4F-2C46-8CA1-28C465275CC4}" dt="2021-09-08T21:01:19.834" v="8597"/>
          <ac:spMkLst>
            <pc:docMk/>
            <pc:sldMk cId="1471809281" sldId="3929"/>
            <ac:spMk id="12" creationId="{CB9E3BA7-D2CB-9D4B-937A-9464F3DD86AD}"/>
          </ac:spMkLst>
        </pc:spChg>
        <pc:spChg chg="add del mod">
          <ac:chgData name="Dan Mallott" userId="dcb254b6-3083-4a8e-a95c-2824abb75bec" providerId="ADAL" clId="{EDF15544-1E4F-2C46-8CA1-28C465275CC4}" dt="2021-09-08T21:01:19.834" v="8597"/>
          <ac:spMkLst>
            <pc:docMk/>
            <pc:sldMk cId="1471809281" sldId="3929"/>
            <ac:spMk id="13" creationId="{791ABC41-2AED-B34F-950A-24384E3FCC10}"/>
          </ac:spMkLst>
        </pc:spChg>
        <pc:spChg chg="add del mod">
          <ac:chgData name="Dan Mallott" userId="dcb254b6-3083-4a8e-a95c-2824abb75bec" providerId="ADAL" clId="{EDF15544-1E4F-2C46-8CA1-28C465275CC4}" dt="2021-09-08T21:01:19.834" v="8597"/>
          <ac:spMkLst>
            <pc:docMk/>
            <pc:sldMk cId="1471809281" sldId="3929"/>
            <ac:spMk id="14" creationId="{E2D20A40-A723-F04F-B118-6EC95953897B}"/>
          </ac:spMkLst>
        </pc:spChg>
        <pc:spChg chg="add mod">
          <ac:chgData name="Dan Mallott" userId="dcb254b6-3083-4a8e-a95c-2824abb75bec" providerId="ADAL" clId="{EDF15544-1E4F-2C46-8CA1-28C465275CC4}" dt="2021-09-08T21:02:19.326" v="8598"/>
          <ac:spMkLst>
            <pc:docMk/>
            <pc:sldMk cId="1471809281" sldId="3929"/>
            <ac:spMk id="15" creationId="{F42FD122-E404-5A49-AEED-3505E4562BD3}"/>
          </ac:spMkLst>
        </pc:spChg>
        <pc:spChg chg="add mod">
          <ac:chgData name="Dan Mallott" userId="dcb254b6-3083-4a8e-a95c-2824abb75bec" providerId="ADAL" clId="{EDF15544-1E4F-2C46-8CA1-28C465275CC4}" dt="2021-09-08T21:02:19.326" v="8598"/>
          <ac:spMkLst>
            <pc:docMk/>
            <pc:sldMk cId="1471809281" sldId="3929"/>
            <ac:spMk id="16" creationId="{941BC024-821E-4D4A-A63D-7F5F95C86741}"/>
          </ac:spMkLst>
        </pc:spChg>
        <pc:spChg chg="add mod">
          <ac:chgData name="Dan Mallott" userId="dcb254b6-3083-4a8e-a95c-2824abb75bec" providerId="ADAL" clId="{EDF15544-1E4F-2C46-8CA1-28C465275CC4}" dt="2021-09-08T21:03:12.477" v="8615" actId="1076"/>
          <ac:spMkLst>
            <pc:docMk/>
            <pc:sldMk cId="1471809281" sldId="3929"/>
            <ac:spMk id="17" creationId="{78A4E39D-BAE4-7C4E-A81B-3FA21385E21D}"/>
          </ac:spMkLst>
        </pc:spChg>
        <pc:spChg chg="add del mod">
          <ac:chgData name="Dan Mallott" userId="dcb254b6-3083-4a8e-a95c-2824abb75bec" providerId="ADAL" clId="{EDF15544-1E4F-2C46-8CA1-28C465275CC4}" dt="2021-09-08T21:03:08.194" v="8614" actId="478"/>
          <ac:spMkLst>
            <pc:docMk/>
            <pc:sldMk cId="1471809281" sldId="3929"/>
            <ac:spMk id="18" creationId="{56AC906B-B351-0845-8523-8D405A8C7863}"/>
          </ac:spMkLst>
        </pc:spChg>
        <pc:spChg chg="add mod">
          <ac:chgData name="Dan Mallott" userId="dcb254b6-3083-4a8e-a95c-2824abb75bec" providerId="ADAL" clId="{EDF15544-1E4F-2C46-8CA1-28C465275CC4}" dt="2021-09-08T21:04:34.523" v="8786" actId="20577"/>
          <ac:spMkLst>
            <pc:docMk/>
            <pc:sldMk cId="1471809281" sldId="3929"/>
            <ac:spMk id="19" creationId="{F8D810A2-4C0C-A345-8101-D3A0F4104D37}"/>
          </ac:spMkLst>
        </pc:spChg>
        <pc:spChg chg="add mod">
          <ac:chgData name="Dan Mallott" userId="dcb254b6-3083-4a8e-a95c-2824abb75bec" providerId="ADAL" clId="{EDF15544-1E4F-2C46-8CA1-28C465275CC4}" dt="2021-09-08T21:02:19.326" v="8598"/>
          <ac:spMkLst>
            <pc:docMk/>
            <pc:sldMk cId="1471809281" sldId="3929"/>
            <ac:spMk id="20" creationId="{51862938-C612-3045-B0EB-7E8ECE722302}"/>
          </ac:spMkLst>
        </pc:spChg>
        <pc:spChg chg="add mod">
          <ac:chgData name="Dan Mallott" userId="dcb254b6-3083-4a8e-a95c-2824abb75bec" providerId="ADAL" clId="{EDF15544-1E4F-2C46-8CA1-28C465275CC4}" dt="2021-09-08T21:03:27.009" v="8633" actId="1076"/>
          <ac:spMkLst>
            <pc:docMk/>
            <pc:sldMk cId="1471809281" sldId="3929"/>
            <ac:spMk id="21" creationId="{BCC81F2D-B37D-7B46-8BCB-4C84926C6AEA}"/>
          </ac:spMkLst>
        </pc:spChg>
        <pc:spChg chg="add mod">
          <ac:chgData name="Dan Mallott" userId="dcb254b6-3083-4a8e-a95c-2824abb75bec" providerId="ADAL" clId="{EDF15544-1E4F-2C46-8CA1-28C465275CC4}" dt="2021-09-08T21:03:31.173" v="8634" actId="1076"/>
          <ac:spMkLst>
            <pc:docMk/>
            <pc:sldMk cId="1471809281" sldId="3929"/>
            <ac:spMk id="22" creationId="{4D1BC44E-1C00-0B46-8CF4-85BD19846467}"/>
          </ac:spMkLst>
        </pc:spChg>
        <pc:spChg chg="add del mod">
          <ac:chgData name="Dan Mallott" userId="dcb254b6-3083-4a8e-a95c-2824abb75bec" providerId="ADAL" clId="{EDF15544-1E4F-2C46-8CA1-28C465275CC4}" dt="2021-09-08T21:03:23.501" v="8631" actId="478"/>
          <ac:spMkLst>
            <pc:docMk/>
            <pc:sldMk cId="1471809281" sldId="3929"/>
            <ac:spMk id="23" creationId="{1E6DC685-D539-FA4C-98CA-E69F68713FFA}"/>
          </ac:spMkLst>
        </pc:spChg>
        <pc:spChg chg="add mod">
          <ac:chgData name="Dan Mallott" userId="dcb254b6-3083-4a8e-a95c-2824abb75bec" providerId="ADAL" clId="{EDF15544-1E4F-2C46-8CA1-28C465275CC4}" dt="2021-09-08T21:05:24.607" v="8935" actId="20577"/>
          <ac:spMkLst>
            <pc:docMk/>
            <pc:sldMk cId="1471809281" sldId="3929"/>
            <ac:spMk id="24" creationId="{4A611928-028C-F547-95BA-72AD487727B7}"/>
          </ac:spMkLst>
        </pc:spChg>
        <pc:spChg chg="add mod">
          <ac:chgData name="Dan Mallott" userId="dcb254b6-3083-4a8e-a95c-2824abb75bec" providerId="ADAL" clId="{EDF15544-1E4F-2C46-8CA1-28C465275CC4}" dt="2021-09-08T21:02:19.326" v="8598"/>
          <ac:spMkLst>
            <pc:docMk/>
            <pc:sldMk cId="1471809281" sldId="3929"/>
            <ac:spMk id="25" creationId="{43064B7C-6B21-3647-81E3-C916992B4D54}"/>
          </ac:spMkLst>
        </pc:spChg>
        <pc:spChg chg="add mod">
          <ac:chgData name="Dan Mallott" userId="dcb254b6-3083-4a8e-a95c-2824abb75bec" providerId="ADAL" clId="{EDF15544-1E4F-2C46-8CA1-28C465275CC4}" dt="2021-09-08T21:02:19.326" v="8598"/>
          <ac:spMkLst>
            <pc:docMk/>
            <pc:sldMk cId="1471809281" sldId="3929"/>
            <ac:spMk id="26" creationId="{CA92D3F7-7F6A-3E44-BC68-DEE675D9CCFE}"/>
          </ac:spMkLst>
        </pc:spChg>
        <pc:spChg chg="add mod">
          <ac:chgData name="Dan Mallott" userId="dcb254b6-3083-4a8e-a95c-2824abb75bec" providerId="ADAL" clId="{EDF15544-1E4F-2C46-8CA1-28C465275CC4}" dt="2021-09-08T21:04:00.175" v="8652" actId="1076"/>
          <ac:spMkLst>
            <pc:docMk/>
            <pc:sldMk cId="1471809281" sldId="3929"/>
            <ac:spMk id="27" creationId="{3F76D90F-D440-A645-8859-DFC0F45088A6}"/>
          </ac:spMkLst>
        </pc:spChg>
        <pc:spChg chg="add del mod">
          <ac:chgData name="Dan Mallott" userId="dcb254b6-3083-4a8e-a95c-2824abb75bec" providerId="ADAL" clId="{EDF15544-1E4F-2C46-8CA1-28C465275CC4}" dt="2021-09-08T21:03:55.113" v="8651" actId="478"/>
          <ac:spMkLst>
            <pc:docMk/>
            <pc:sldMk cId="1471809281" sldId="3929"/>
            <ac:spMk id="28" creationId="{B202B737-4CD0-0745-9CC6-8F2E34A40F57}"/>
          </ac:spMkLst>
        </pc:spChg>
        <pc:spChg chg="add mod">
          <ac:chgData name="Dan Mallott" userId="dcb254b6-3083-4a8e-a95c-2824abb75bec" providerId="ADAL" clId="{EDF15544-1E4F-2C46-8CA1-28C465275CC4}" dt="2021-09-08T21:11:10.435" v="9083" actId="20577"/>
          <ac:spMkLst>
            <pc:docMk/>
            <pc:sldMk cId="1471809281" sldId="3929"/>
            <ac:spMk id="29" creationId="{614B7921-4516-3D46-8A64-F58F4546E0B8}"/>
          </ac:spMkLst>
        </pc:spChg>
      </pc:sldChg>
      <pc:sldChg chg="addSp delSp modSp new mod">
        <pc:chgData name="Dan Mallott" userId="dcb254b6-3083-4a8e-a95c-2824abb75bec" providerId="ADAL" clId="{EDF15544-1E4F-2C46-8CA1-28C465275CC4}" dt="2021-09-08T20:07:04.489" v="8575" actId="403"/>
        <pc:sldMkLst>
          <pc:docMk/>
          <pc:sldMk cId="542431595" sldId="3930"/>
        </pc:sldMkLst>
        <pc:spChg chg="mod">
          <ac:chgData name="Dan Mallott" userId="dcb254b6-3083-4a8e-a95c-2824abb75bec" providerId="ADAL" clId="{EDF15544-1E4F-2C46-8CA1-28C465275CC4}" dt="2021-09-08T20:03:03.456" v="8371" actId="20577"/>
          <ac:spMkLst>
            <pc:docMk/>
            <pc:sldMk cId="542431595" sldId="3930"/>
            <ac:spMk id="2" creationId="{8F2CAB72-FE63-9849-9BCD-CFD9C2235CC4}"/>
          </ac:spMkLst>
        </pc:spChg>
        <pc:spChg chg="del">
          <ac:chgData name="Dan Mallott" userId="dcb254b6-3083-4a8e-a95c-2824abb75bec" providerId="ADAL" clId="{EDF15544-1E4F-2C46-8CA1-28C465275CC4}" dt="2021-09-08T19:55:59.223" v="7852" actId="478"/>
          <ac:spMkLst>
            <pc:docMk/>
            <pc:sldMk cId="542431595" sldId="3930"/>
            <ac:spMk id="3" creationId="{B1559C4E-88F9-784E-A839-FDE0071409F4}"/>
          </ac:spMkLst>
        </pc:spChg>
        <pc:spChg chg="mod">
          <ac:chgData name="Dan Mallott" userId="dcb254b6-3083-4a8e-a95c-2824abb75bec" providerId="ADAL" clId="{EDF15544-1E4F-2C46-8CA1-28C465275CC4}" dt="2021-09-08T19:51:36.071" v="7831" actId="20577"/>
          <ac:spMkLst>
            <pc:docMk/>
            <pc:sldMk cId="542431595" sldId="3930"/>
            <ac:spMk id="4" creationId="{279DC246-C182-4946-9501-6105FB8C8F5B}"/>
          </ac:spMkLst>
        </pc:spChg>
        <pc:spChg chg="add mod">
          <ac:chgData name="Dan Mallott" userId="dcb254b6-3083-4a8e-a95c-2824abb75bec" providerId="ADAL" clId="{EDF15544-1E4F-2C46-8CA1-28C465275CC4}" dt="2021-09-08T19:56:00.003" v="7853"/>
          <ac:spMkLst>
            <pc:docMk/>
            <pc:sldMk cId="542431595" sldId="3930"/>
            <ac:spMk id="6" creationId="{89E21180-292E-124F-8293-A26EB0382BB9}"/>
          </ac:spMkLst>
        </pc:spChg>
        <pc:spChg chg="add mod">
          <ac:chgData name="Dan Mallott" userId="dcb254b6-3083-4a8e-a95c-2824abb75bec" providerId="ADAL" clId="{EDF15544-1E4F-2C46-8CA1-28C465275CC4}" dt="2021-09-08T19:56:00.003" v="7853"/>
          <ac:spMkLst>
            <pc:docMk/>
            <pc:sldMk cId="542431595" sldId="3930"/>
            <ac:spMk id="7" creationId="{C4B687E2-72BD-4F45-B0C8-7775C2FD51F2}"/>
          </ac:spMkLst>
        </pc:spChg>
        <pc:spChg chg="add mod">
          <ac:chgData name="Dan Mallott" userId="dcb254b6-3083-4a8e-a95c-2824abb75bec" providerId="ADAL" clId="{EDF15544-1E4F-2C46-8CA1-28C465275CC4}" dt="2021-09-08T19:56:00.003" v="7853"/>
          <ac:spMkLst>
            <pc:docMk/>
            <pc:sldMk cId="542431595" sldId="3930"/>
            <ac:spMk id="8" creationId="{509A54F4-4C1B-FD41-A4C7-2E74E0452AD1}"/>
          </ac:spMkLst>
        </pc:spChg>
        <pc:spChg chg="add mod">
          <ac:chgData name="Dan Mallott" userId="dcb254b6-3083-4a8e-a95c-2824abb75bec" providerId="ADAL" clId="{EDF15544-1E4F-2C46-8CA1-28C465275CC4}" dt="2021-09-08T19:56:00.003" v="7853"/>
          <ac:spMkLst>
            <pc:docMk/>
            <pc:sldMk cId="542431595" sldId="3930"/>
            <ac:spMk id="9" creationId="{5F9218AA-B41E-FC46-B2B4-FA76EA026EAE}"/>
          </ac:spMkLst>
        </pc:spChg>
        <pc:spChg chg="add mod">
          <ac:chgData name="Dan Mallott" userId="dcb254b6-3083-4a8e-a95c-2824abb75bec" providerId="ADAL" clId="{EDF15544-1E4F-2C46-8CA1-28C465275CC4}" dt="2021-09-08T20:07:04.489" v="8575" actId="403"/>
          <ac:spMkLst>
            <pc:docMk/>
            <pc:sldMk cId="542431595" sldId="3930"/>
            <ac:spMk id="10" creationId="{9DA4603A-ED7F-0344-BFA3-14066BEA5099}"/>
          </ac:spMkLst>
        </pc:spChg>
        <pc:spChg chg="add mod">
          <ac:chgData name="Dan Mallott" userId="dcb254b6-3083-4a8e-a95c-2824abb75bec" providerId="ADAL" clId="{EDF15544-1E4F-2C46-8CA1-28C465275CC4}" dt="2021-09-08T20:07:04.489" v="8575" actId="403"/>
          <ac:spMkLst>
            <pc:docMk/>
            <pc:sldMk cId="542431595" sldId="3930"/>
            <ac:spMk id="11" creationId="{2594F808-DA05-3B45-BEBC-55013120D60A}"/>
          </ac:spMkLst>
        </pc:spChg>
        <pc:spChg chg="add mod">
          <ac:chgData name="Dan Mallott" userId="dcb254b6-3083-4a8e-a95c-2824abb75bec" providerId="ADAL" clId="{EDF15544-1E4F-2C46-8CA1-28C465275CC4}" dt="2021-09-08T20:07:04.489" v="8575" actId="403"/>
          <ac:spMkLst>
            <pc:docMk/>
            <pc:sldMk cId="542431595" sldId="3930"/>
            <ac:spMk id="12" creationId="{787F164D-5856-0D44-87B9-416466FEDB12}"/>
          </ac:spMkLst>
        </pc:spChg>
        <pc:spChg chg="add mod">
          <ac:chgData name="Dan Mallott" userId="dcb254b6-3083-4a8e-a95c-2824abb75bec" providerId="ADAL" clId="{EDF15544-1E4F-2C46-8CA1-28C465275CC4}" dt="2021-09-08T20:07:04.489" v="8575" actId="403"/>
          <ac:spMkLst>
            <pc:docMk/>
            <pc:sldMk cId="542431595" sldId="3930"/>
            <ac:spMk id="13" creationId="{1F839F52-A720-A24D-AB43-0F24871769A5}"/>
          </ac:spMkLst>
        </pc:spChg>
        <pc:spChg chg="add mod">
          <ac:chgData name="Dan Mallott" userId="dcb254b6-3083-4a8e-a95c-2824abb75bec" providerId="ADAL" clId="{EDF15544-1E4F-2C46-8CA1-28C465275CC4}" dt="2021-09-08T20:07:04.489" v="8575" actId="403"/>
          <ac:spMkLst>
            <pc:docMk/>
            <pc:sldMk cId="542431595" sldId="3930"/>
            <ac:spMk id="14" creationId="{B980CC6E-27A8-194F-B098-89BB8097CCA0}"/>
          </ac:spMkLst>
        </pc:spChg>
        <pc:spChg chg="add mod">
          <ac:chgData name="Dan Mallott" userId="dcb254b6-3083-4a8e-a95c-2824abb75bec" providerId="ADAL" clId="{EDF15544-1E4F-2C46-8CA1-28C465275CC4}" dt="2021-09-08T20:07:04.489" v="8575" actId="403"/>
          <ac:spMkLst>
            <pc:docMk/>
            <pc:sldMk cId="542431595" sldId="3930"/>
            <ac:spMk id="15" creationId="{53B38C6C-7260-3044-A8A1-DBB10F321F3F}"/>
          </ac:spMkLst>
        </pc:spChg>
        <pc:spChg chg="add mod">
          <ac:chgData name="Dan Mallott" userId="dcb254b6-3083-4a8e-a95c-2824abb75bec" providerId="ADAL" clId="{EDF15544-1E4F-2C46-8CA1-28C465275CC4}" dt="2021-09-08T20:07:04.489" v="8575" actId="403"/>
          <ac:spMkLst>
            <pc:docMk/>
            <pc:sldMk cId="542431595" sldId="3930"/>
            <ac:spMk id="16" creationId="{FB0AD26D-838D-3C45-9DBA-0758FC556BDE}"/>
          </ac:spMkLst>
        </pc:spChg>
        <pc:spChg chg="add mod">
          <ac:chgData name="Dan Mallott" userId="dcb254b6-3083-4a8e-a95c-2824abb75bec" providerId="ADAL" clId="{EDF15544-1E4F-2C46-8CA1-28C465275CC4}" dt="2021-09-08T20:07:04.489" v="8575" actId="403"/>
          <ac:spMkLst>
            <pc:docMk/>
            <pc:sldMk cId="542431595" sldId="3930"/>
            <ac:spMk id="17" creationId="{13099926-57BC-6845-89F7-0B833393E18E}"/>
          </ac:spMkLst>
        </pc:spChg>
      </pc:sldChg>
      <pc:sldChg chg="addSp delSp modSp new mod">
        <pc:chgData name="Dan Mallott" userId="dcb254b6-3083-4a8e-a95c-2824abb75bec" providerId="ADAL" clId="{EDF15544-1E4F-2C46-8CA1-28C465275CC4}" dt="2021-09-09T02:22:01.546" v="9606" actId="403"/>
        <pc:sldMkLst>
          <pc:docMk/>
          <pc:sldMk cId="3287429959" sldId="3931"/>
        </pc:sldMkLst>
        <pc:spChg chg="mod">
          <ac:chgData name="Dan Mallott" userId="dcb254b6-3083-4a8e-a95c-2824abb75bec" providerId="ADAL" clId="{EDF15544-1E4F-2C46-8CA1-28C465275CC4}" dt="2021-09-08T21:11:36.415" v="9121" actId="255"/>
          <ac:spMkLst>
            <pc:docMk/>
            <pc:sldMk cId="3287429959" sldId="3931"/>
            <ac:spMk id="2" creationId="{B1D2DB92-1D80-A441-9115-606CCC3FDC69}"/>
          </ac:spMkLst>
        </pc:spChg>
        <pc:spChg chg="del">
          <ac:chgData name="Dan Mallott" userId="dcb254b6-3083-4a8e-a95c-2824abb75bec" providerId="ADAL" clId="{EDF15544-1E4F-2C46-8CA1-28C465275CC4}" dt="2021-09-09T02:19:52.290" v="9122" actId="478"/>
          <ac:spMkLst>
            <pc:docMk/>
            <pc:sldMk cId="3287429959" sldId="3931"/>
            <ac:spMk id="3" creationId="{BD364E2F-B27A-C742-A15F-A8750550C018}"/>
          </ac:spMkLst>
        </pc:spChg>
        <pc:spChg chg="mod">
          <ac:chgData name="Dan Mallott" userId="dcb254b6-3083-4a8e-a95c-2824abb75bec" providerId="ADAL" clId="{EDF15544-1E4F-2C46-8CA1-28C465275CC4}" dt="2021-09-08T21:11:24.603" v="9090" actId="20577"/>
          <ac:spMkLst>
            <pc:docMk/>
            <pc:sldMk cId="3287429959" sldId="3931"/>
            <ac:spMk id="4" creationId="{2D561DFE-ADD8-0B4A-BEC1-8DB46AF1FA00}"/>
          </ac:spMkLst>
        </pc:spChg>
        <pc:spChg chg="mod">
          <ac:chgData name="Dan Mallott" userId="dcb254b6-3083-4a8e-a95c-2824abb75bec" providerId="ADAL" clId="{EDF15544-1E4F-2C46-8CA1-28C465275CC4}" dt="2021-09-09T02:21:49.161" v="9602" actId="20577"/>
          <ac:spMkLst>
            <pc:docMk/>
            <pc:sldMk cId="3287429959" sldId="3931"/>
            <ac:spMk id="7" creationId="{AF4AC19F-038A-9440-9A64-9FE3ED83A2E6}"/>
          </ac:spMkLst>
        </pc:spChg>
        <pc:spChg chg="mod">
          <ac:chgData name="Dan Mallott" userId="dcb254b6-3083-4a8e-a95c-2824abb75bec" providerId="ADAL" clId="{EDF15544-1E4F-2C46-8CA1-28C465275CC4}" dt="2021-09-09T02:22:01.546" v="9606" actId="403"/>
          <ac:spMkLst>
            <pc:docMk/>
            <pc:sldMk cId="3287429959" sldId="3931"/>
            <ac:spMk id="8" creationId="{33D0B4DA-DFA5-DE4B-89AB-CEFBC9F3A0FE}"/>
          </ac:spMkLst>
        </pc:spChg>
        <pc:spChg chg="mod">
          <ac:chgData name="Dan Mallott" userId="dcb254b6-3083-4a8e-a95c-2824abb75bec" providerId="ADAL" clId="{EDF15544-1E4F-2C46-8CA1-28C465275CC4}" dt="2021-09-09T02:19:52.965" v="9123"/>
          <ac:spMkLst>
            <pc:docMk/>
            <pc:sldMk cId="3287429959" sldId="3931"/>
            <ac:spMk id="9" creationId="{7482C63F-CF6A-6147-B494-ABEF96D06659}"/>
          </ac:spMkLst>
        </pc:spChg>
        <pc:grpChg chg="add mod">
          <ac:chgData name="Dan Mallott" userId="dcb254b6-3083-4a8e-a95c-2824abb75bec" providerId="ADAL" clId="{EDF15544-1E4F-2C46-8CA1-28C465275CC4}" dt="2021-09-09T02:19:52.965" v="9123"/>
          <ac:grpSpMkLst>
            <pc:docMk/>
            <pc:sldMk cId="3287429959" sldId="3931"/>
            <ac:grpSpMk id="6" creationId="{20268A33-84C1-924A-A265-84AD9B35143B}"/>
          </ac:grpSpMkLst>
        </pc:grpChg>
      </pc:sldChg>
      <pc:sldChg chg="addSp modSp new mod">
        <pc:chgData name="Dan Mallott" userId="dcb254b6-3083-4a8e-a95c-2824abb75bec" providerId="ADAL" clId="{EDF15544-1E4F-2C46-8CA1-28C465275CC4}" dt="2021-09-09T02:26:34.566" v="9959" actId="20577"/>
        <pc:sldMkLst>
          <pc:docMk/>
          <pc:sldMk cId="2884683281" sldId="3932"/>
        </pc:sldMkLst>
        <pc:spChg chg="mod">
          <ac:chgData name="Dan Mallott" userId="dcb254b6-3083-4a8e-a95c-2824abb75bec" providerId="ADAL" clId="{EDF15544-1E4F-2C46-8CA1-28C465275CC4}" dt="2021-09-09T02:26:34.566" v="9959" actId="20577"/>
          <ac:spMkLst>
            <pc:docMk/>
            <pc:sldMk cId="2884683281" sldId="3932"/>
            <ac:spMk id="2" creationId="{CCE1A403-8800-0444-984E-68E96C1C953B}"/>
          </ac:spMkLst>
        </pc:spChg>
        <pc:spChg chg="mod">
          <ac:chgData name="Dan Mallott" userId="dcb254b6-3083-4a8e-a95c-2824abb75bec" providerId="ADAL" clId="{EDF15544-1E4F-2C46-8CA1-28C465275CC4}" dt="2021-09-09T02:23:55.313" v="9615" actId="20577"/>
          <ac:spMkLst>
            <pc:docMk/>
            <pc:sldMk cId="2884683281" sldId="3932"/>
            <ac:spMk id="3" creationId="{DDBC7AC9-C844-5343-A4C0-08C6270B9923}"/>
          </ac:spMkLst>
        </pc:spChg>
        <pc:spChg chg="add mod">
          <ac:chgData name="Dan Mallott" userId="dcb254b6-3083-4a8e-a95c-2824abb75bec" providerId="ADAL" clId="{EDF15544-1E4F-2C46-8CA1-28C465275CC4}" dt="2021-09-09T02:24:12.664" v="9649"/>
          <ac:spMkLst>
            <pc:docMk/>
            <pc:sldMk cId="2884683281" sldId="3932"/>
            <ac:spMk id="5" creationId="{34AFA58D-3F18-6740-B46A-674A697B1C81}"/>
          </ac:spMkLst>
        </pc:spChg>
        <pc:spChg chg="add mod">
          <ac:chgData name="Dan Mallott" userId="dcb254b6-3083-4a8e-a95c-2824abb75bec" providerId="ADAL" clId="{EDF15544-1E4F-2C46-8CA1-28C465275CC4}" dt="2021-09-09T02:24:12.664" v="9649"/>
          <ac:spMkLst>
            <pc:docMk/>
            <pc:sldMk cId="2884683281" sldId="3932"/>
            <ac:spMk id="6" creationId="{B6FD486C-D9E4-A142-ACA7-7C76FE7C8796}"/>
          </ac:spMkLst>
        </pc:spChg>
        <pc:spChg chg="add mod">
          <ac:chgData name="Dan Mallott" userId="dcb254b6-3083-4a8e-a95c-2824abb75bec" providerId="ADAL" clId="{EDF15544-1E4F-2C46-8CA1-28C465275CC4}" dt="2021-09-09T02:24:12.664" v="9649"/>
          <ac:spMkLst>
            <pc:docMk/>
            <pc:sldMk cId="2884683281" sldId="3932"/>
            <ac:spMk id="7" creationId="{1416BF6B-981A-A249-9B6D-176DB5CA643A}"/>
          </ac:spMkLst>
        </pc:spChg>
        <pc:spChg chg="add mod">
          <ac:chgData name="Dan Mallott" userId="dcb254b6-3083-4a8e-a95c-2824abb75bec" providerId="ADAL" clId="{EDF15544-1E4F-2C46-8CA1-28C465275CC4}" dt="2021-09-09T02:24:12.664" v="9649"/>
          <ac:spMkLst>
            <pc:docMk/>
            <pc:sldMk cId="2884683281" sldId="3932"/>
            <ac:spMk id="8" creationId="{AFB53F7C-F96B-E744-A142-ED4D5BA735D0}"/>
          </ac:spMkLst>
        </pc:spChg>
        <pc:spChg chg="add mod">
          <ac:chgData name="Dan Mallott" userId="dcb254b6-3083-4a8e-a95c-2824abb75bec" providerId="ADAL" clId="{EDF15544-1E4F-2C46-8CA1-28C465275CC4}" dt="2021-09-09T02:24:12.664" v="9649"/>
          <ac:spMkLst>
            <pc:docMk/>
            <pc:sldMk cId="2884683281" sldId="3932"/>
            <ac:spMk id="9" creationId="{F1F79EE6-737D-384F-BFF7-DF43998F3B50}"/>
          </ac:spMkLst>
        </pc:spChg>
        <pc:spChg chg="add mod">
          <ac:chgData name="Dan Mallott" userId="dcb254b6-3083-4a8e-a95c-2824abb75bec" providerId="ADAL" clId="{EDF15544-1E4F-2C46-8CA1-28C465275CC4}" dt="2021-09-09T02:24:12.664" v="9649"/>
          <ac:spMkLst>
            <pc:docMk/>
            <pc:sldMk cId="2884683281" sldId="3932"/>
            <ac:spMk id="10" creationId="{A7A25C3E-CEF3-F94E-8914-60EFF653AC9E}"/>
          </ac:spMkLst>
        </pc:spChg>
        <pc:spChg chg="add mod">
          <ac:chgData name="Dan Mallott" userId="dcb254b6-3083-4a8e-a95c-2824abb75bec" providerId="ADAL" clId="{EDF15544-1E4F-2C46-8CA1-28C465275CC4}" dt="2021-09-09T02:24:12.664" v="9649"/>
          <ac:spMkLst>
            <pc:docMk/>
            <pc:sldMk cId="2884683281" sldId="3932"/>
            <ac:spMk id="11" creationId="{BA7A7E89-50F3-B14B-A994-3858CE816169}"/>
          </ac:spMkLst>
        </pc:spChg>
        <pc:spChg chg="add mod">
          <ac:chgData name="Dan Mallott" userId="dcb254b6-3083-4a8e-a95c-2824abb75bec" providerId="ADAL" clId="{EDF15544-1E4F-2C46-8CA1-28C465275CC4}" dt="2021-09-09T02:24:12.664" v="9649"/>
          <ac:spMkLst>
            <pc:docMk/>
            <pc:sldMk cId="2884683281" sldId="3932"/>
            <ac:spMk id="12" creationId="{F3CFE7B5-7AE0-DE45-8B89-7019B1750DA3}"/>
          </ac:spMkLst>
        </pc:spChg>
        <pc:spChg chg="add mod">
          <ac:chgData name="Dan Mallott" userId="dcb254b6-3083-4a8e-a95c-2824abb75bec" providerId="ADAL" clId="{EDF15544-1E4F-2C46-8CA1-28C465275CC4}" dt="2021-09-09T02:24:35.709" v="9722" actId="6549"/>
          <ac:spMkLst>
            <pc:docMk/>
            <pc:sldMk cId="2884683281" sldId="3932"/>
            <ac:spMk id="13" creationId="{08223339-7FA2-1249-B34D-539E643ECD1E}"/>
          </ac:spMkLst>
        </pc:spChg>
        <pc:spChg chg="add mod">
          <ac:chgData name="Dan Mallott" userId="dcb254b6-3083-4a8e-a95c-2824abb75bec" providerId="ADAL" clId="{EDF15544-1E4F-2C46-8CA1-28C465275CC4}" dt="2021-09-09T02:24:12.664" v="9649"/>
          <ac:spMkLst>
            <pc:docMk/>
            <pc:sldMk cId="2884683281" sldId="3932"/>
            <ac:spMk id="14" creationId="{4E170A11-130F-EF42-8042-5FA7E2F5C837}"/>
          </ac:spMkLst>
        </pc:spChg>
        <pc:spChg chg="add mod">
          <ac:chgData name="Dan Mallott" userId="dcb254b6-3083-4a8e-a95c-2824abb75bec" providerId="ADAL" clId="{EDF15544-1E4F-2C46-8CA1-28C465275CC4}" dt="2021-09-09T02:24:12.664" v="9649"/>
          <ac:spMkLst>
            <pc:docMk/>
            <pc:sldMk cId="2884683281" sldId="3932"/>
            <ac:spMk id="15" creationId="{1C622E75-F9E5-F946-90CA-D187C779F17F}"/>
          </ac:spMkLst>
        </pc:spChg>
        <pc:spChg chg="add mod">
          <ac:chgData name="Dan Mallott" userId="dcb254b6-3083-4a8e-a95c-2824abb75bec" providerId="ADAL" clId="{EDF15544-1E4F-2C46-8CA1-28C465275CC4}" dt="2021-09-09T02:25:18.861" v="9835" actId="207"/>
          <ac:spMkLst>
            <pc:docMk/>
            <pc:sldMk cId="2884683281" sldId="3932"/>
            <ac:spMk id="16" creationId="{9D654C19-34EC-A343-9B27-048A2112E2EC}"/>
          </ac:spMkLst>
        </pc:spChg>
        <pc:spChg chg="add mod">
          <ac:chgData name="Dan Mallott" userId="dcb254b6-3083-4a8e-a95c-2824abb75bec" providerId="ADAL" clId="{EDF15544-1E4F-2C46-8CA1-28C465275CC4}" dt="2021-09-09T02:25:22.974" v="9836" actId="207"/>
          <ac:spMkLst>
            <pc:docMk/>
            <pc:sldMk cId="2884683281" sldId="3932"/>
            <ac:spMk id="17" creationId="{00D45E19-7CA1-0943-BC7D-7B211F4ED875}"/>
          </ac:spMkLst>
        </pc:spChg>
        <pc:spChg chg="add mod">
          <ac:chgData name="Dan Mallott" userId="dcb254b6-3083-4a8e-a95c-2824abb75bec" providerId="ADAL" clId="{EDF15544-1E4F-2C46-8CA1-28C465275CC4}" dt="2021-09-09T02:26:23.605" v="9946" actId="14100"/>
          <ac:spMkLst>
            <pc:docMk/>
            <pc:sldMk cId="2884683281" sldId="3932"/>
            <ac:spMk id="18" creationId="{7F2C8BD6-4618-9046-8915-5402A5F9210E}"/>
          </ac:spMkLst>
        </pc:spChg>
        <pc:spChg chg="add mod">
          <ac:chgData name="Dan Mallott" userId="dcb254b6-3083-4a8e-a95c-2824abb75bec" providerId="ADAL" clId="{EDF15544-1E4F-2C46-8CA1-28C465275CC4}" dt="2021-09-09T02:24:12.664" v="9649"/>
          <ac:spMkLst>
            <pc:docMk/>
            <pc:sldMk cId="2884683281" sldId="3932"/>
            <ac:spMk id="19" creationId="{FD016F12-7846-3B47-A6BA-5E7F68196188}"/>
          </ac:spMkLst>
        </pc:spChg>
        <pc:spChg chg="add mod">
          <ac:chgData name="Dan Mallott" userId="dcb254b6-3083-4a8e-a95c-2824abb75bec" providerId="ADAL" clId="{EDF15544-1E4F-2C46-8CA1-28C465275CC4}" dt="2021-09-09T02:24:12.664" v="9649"/>
          <ac:spMkLst>
            <pc:docMk/>
            <pc:sldMk cId="2884683281" sldId="3932"/>
            <ac:spMk id="20" creationId="{658D76B2-560A-974C-92D8-FF5656204B63}"/>
          </ac:spMkLst>
        </pc:spChg>
        <pc:spChg chg="add mod">
          <ac:chgData name="Dan Mallott" userId="dcb254b6-3083-4a8e-a95c-2824abb75bec" providerId="ADAL" clId="{EDF15544-1E4F-2C46-8CA1-28C465275CC4}" dt="2021-09-09T02:24:12.664" v="9649"/>
          <ac:spMkLst>
            <pc:docMk/>
            <pc:sldMk cId="2884683281" sldId="3932"/>
            <ac:spMk id="21" creationId="{52BC68A1-6AA0-1A4C-8936-7ABBD0AFA0D9}"/>
          </ac:spMkLst>
        </pc:spChg>
        <pc:spChg chg="add mod">
          <ac:chgData name="Dan Mallott" userId="dcb254b6-3083-4a8e-a95c-2824abb75bec" providerId="ADAL" clId="{EDF15544-1E4F-2C46-8CA1-28C465275CC4}" dt="2021-09-09T02:25:29.865" v="9837" actId="207"/>
          <ac:spMkLst>
            <pc:docMk/>
            <pc:sldMk cId="2884683281" sldId="3932"/>
            <ac:spMk id="22" creationId="{BC07AFB2-56EE-9B4A-8BA4-9F243868B0B4}"/>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2EDE27B-A6D6-A74B-92D2-74B64C222F3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2F69A8A-2638-FF4F-9353-674B49FAD78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C409EC3-A718-B94B-B688-40F425CB6710}" type="datetimeFigureOut">
              <a:rPr lang="en-US" smtClean="0"/>
              <a:t>9/15/21</a:t>
            </a:fld>
            <a:endParaRPr lang="en-US"/>
          </a:p>
        </p:txBody>
      </p:sp>
      <p:sp>
        <p:nvSpPr>
          <p:cNvPr id="4" name="Footer Placeholder 3">
            <a:extLst>
              <a:ext uri="{FF2B5EF4-FFF2-40B4-BE49-F238E27FC236}">
                <a16:creationId xmlns:a16="http://schemas.microsoft.com/office/drawing/2014/main" id="{7CC1D701-6F2C-AF40-B9FA-F946AE3AC42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2E58BF8-FC89-764A-9A64-B0D8A28E93A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35586C8-D160-4749-B360-43C4CD61857D}" type="slidenum">
              <a:rPr lang="en-US" smtClean="0"/>
              <a:t>‹#›</a:t>
            </a:fld>
            <a:endParaRPr lang="en-US"/>
          </a:p>
        </p:txBody>
      </p:sp>
    </p:spTree>
    <p:extLst>
      <p:ext uri="{BB962C8B-B14F-4D97-AF65-F5344CB8AC3E}">
        <p14:creationId xmlns:p14="http://schemas.microsoft.com/office/powerpoint/2010/main" val="13290530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AF78AD6-53A3-464F-A1F2-29843F47CCB7}" type="datetimeFigureOut">
              <a:rPr lang="en-US" smtClean="0"/>
              <a:t>9/15/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16AC5D-43B2-164A-8FEE-787D4ABEC524}" type="slidenum">
              <a:rPr lang="en-US" smtClean="0"/>
              <a:t>‹#›</a:t>
            </a:fld>
            <a:endParaRPr lang="en-US"/>
          </a:p>
        </p:txBody>
      </p:sp>
    </p:spTree>
    <p:extLst>
      <p:ext uri="{BB962C8B-B14F-4D97-AF65-F5344CB8AC3E}">
        <p14:creationId xmlns:p14="http://schemas.microsoft.com/office/powerpoint/2010/main" val="528984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59AFFB-1D3F-F442-9F20-CE0D1468C5CD}" type="slidenum">
              <a:rPr lang="en-US" smtClean="0"/>
              <a:t>1</a:t>
            </a:fld>
            <a:endParaRPr lang="en-US"/>
          </a:p>
        </p:txBody>
      </p:sp>
    </p:spTree>
    <p:extLst>
      <p:ext uri="{BB962C8B-B14F-4D97-AF65-F5344CB8AC3E}">
        <p14:creationId xmlns:p14="http://schemas.microsoft.com/office/powerpoint/2010/main" val="36426029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D1BC4C-DBBA-1A46-BD21-33C27A89343E}" type="slidenum">
              <a:rPr lang="en-US" smtClean="0"/>
              <a:t>2</a:t>
            </a:fld>
            <a:endParaRPr lang="en-US"/>
          </a:p>
        </p:txBody>
      </p:sp>
    </p:spTree>
    <p:extLst>
      <p:ext uri="{BB962C8B-B14F-4D97-AF65-F5344CB8AC3E}">
        <p14:creationId xmlns:p14="http://schemas.microsoft.com/office/powerpoint/2010/main" val="16157739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ow the # of ideas in each phase so we focus more on </a:t>
            </a:r>
          </a:p>
        </p:txBody>
      </p:sp>
      <p:sp>
        <p:nvSpPr>
          <p:cNvPr id="4" name="Slide Number Placeholder 3"/>
          <p:cNvSpPr>
            <a:spLocks noGrp="1"/>
          </p:cNvSpPr>
          <p:nvPr>
            <p:ph type="sldNum" sz="quarter" idx="10"/>
          </p:nvPr>
        </p:nvSpPr>
        <p:spPr/>
        <p:txBody>
          <a:bodyPr/>
          <a:lstStyle/>
          <a:p>
            <a:fld id="{9D59AFFB-1D3F-F442-9F20-CE0D1468C5CD}" type="slidenum">
              <a:rPr lang="en-US" smtClean="0"/>
              <a:t>5</a:t>
            </a:fld>
            <a:endParaRPr lang="en-US"/>
          </a:p>
        </p:txBody>
      </p:sp>
    </p:spTree>
    <p:extLst>
      <p:ext uri="{BB962C8B-B14F-4D97-AF65-F5344CB8AC3E}">
        <p14:creationId xmlns:p14="http://schemas.microsoft.com/office/powerpoint/2010/main" val="38849103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091B2F"/>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EFE54847-19ED-9C47-BF16-76D29A22CC25}"/>
              </a:ext>
            </a:extLst>
          </p:cNvPr>
          <p:cNvSpPr/>
          <p:nvPr userDrawn="1"/>
        </p:nvSpPr>
        <p:spPr>
          <a:xfrm rot="2700000">
            <a:off x="6671312" y="-1832237"/>
            <a:ext cx="1828800" cy="8096182"/>
          </a:xfrm>
          <a:custGeom>
            <a:avLst/>
            <a:gdLst>
              <a:gd name="connsiteX0" fmla="*/ 0 w 1828800"/>
              <a:gd name="connsiteY0" fmla="*/ 1828800 h 8096182"/>
              <a:gd name="connsiteX1" fmla="*/ 1828800 w 1828800"/>
              <a:gd name="connsiteY1" fmla="*/ 0 h 8096182"/>
              <a:gd name="connsiteX2" fmla="*/ 1828800 w 1828800"/>
              <a:gd name="connsiteY2" fmla="*/ 8096182 h 8096182"/>
              <a:gd name="connsiteX3" fmla="*/ 0 w 1828800"/>
              <a:gd name="connsiteY3" fmla="*/ 8096182 h 8096182"/>
            </a:gdLst>
            <a:ahLst/>
            <a:cxnLst>
              <a:cxn ang="0">
                <a:pos x="connsiteX0" y="connsiteY0"/>
              </a:cxn>
              <a:cxn ang="0">
                <a:pos x="connsiteX1" y="connsiteY1"/>
              </a:cxn>
              <a:cxn ang="0">
                <a:pos x="connsiteX2" y="connsiteY2"/>
              </a:cxn>
              <a:cxn ang="0">
                <a:pos x="connsiteX3" y="connsiteY3"/>
              </a:cxn>
            </a:cxnLst>
            <a:rect l="l" t="t" r="r" b="b"/>
            <a:pathLst>
              <a:path w="1828800" h="8096182">
                <a:moveTo>
                  <a:pt x="0" y="1828800"/>
                </a:moveTo>
                <a:lnTo>
                  <a:pt x="1828800" y="0"/>
                </a:lnTo>
                <a:lnTo>
                  <a:pt x="1828800" y="8096182"/>
                </a:lnTo>
                <a:lnTo>
                  <a:pt x="0" y="8096182"/>
                </a:lnTo>
                <a:close/>
              </a:path>
            </a:pathLst>
          </a:custGeom>
          <a:solidFill>
            <a:srgbClr val="0625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7">
            <a:extLst>
              <a:ext uri="{FF2B5EF4-FFF2-40B4-BE49-F238E27FC236}">
                <a16:creationId xmlns:a16="http://schemas.microsoft.com/office/drawing/2014/main" id="{E2C0C460-52D7-0246-90C8-F49B352761EC}"/>
              </a:ext>
            </a:extLst>
          </p:cNvPr>
          <p:cNvSpPr/>
          <p:nvPr userDrawn="1"/>
        </p:nvSpPr>
        <p:spPr>
          <a:xfrm>
            <a:off x="4076700" y="0"/>
            <a:ext cx="8115300" cy="6858000"/>
          </a:xfrm>
          <a:custGeom>
            <a:avLst/>
            <a:gdLst>
              <a:gd name="connsiteX0" fmla="*/ 6858000 w 8115300"/>
              <a:gd name="connsiteY0" fmla="*/ 0 h 6858000"/>
              <a:gd name="connsiteX1" fmla="*/ 8115300 w 8115300"/>
              <a:gd name="connsiteY1" fmla="*/ 0 h 6858000"/>
              <a:gd name="connsiteX2" fmla="*/ 8115300 w 8115300"/>
              <a:gd name="connsiteY2" fmla="*/ 6858000 h 6858000"/>
              <a:gd name="connsiteX3" fmla="*/ 0 w 81153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15300" h="6858000">
                <a:moveTo>
                  <a:pt x="6858000" y="0"/>
                </a:moveTo>
                <a:lnTo>
                  <a:pt x="8115300" y="0"/>
                </a:lnTo>
                <a:lnTo>
                  <a:pt x="8115300" y="6858000"/>
                </a:lnTo>
                <a:lnTo>
                  <a:pt x="0" y="6858000"/>
                </a:lnTo>
                <a:close/>
              </a:path>
            </a:pathLst>
          </a:custGeom>
          <a:solidFill>
            <a:srgbClr val="092B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14" name="Right Triangle 13">
            <a:extLst>
              <a:ext uri="{FF2B5EF4-FFF2-40B4-BE49-F238E27FC236}">
                <a16:creationId xmlns:a16="http://schemas.microsoft.com/office/drawing/2014/main" id="{1FDC1292-4231-7948-9AD9-4E1D22ADA2F0}"/>
              </a:ext>
            </a:extLst>
          </p:cNvPr>
          <p:cNvSpPr>
            <a:spLocks noChangeAspect="1"/>
          </p:cNvSpPr>
          <p:nvPr userDrawn="1"/>
        </p:nvSpPr>
        <p:spPr>
          <a:xfrm flipH="1">
            <a:off x="9906000" y="4572000"/>
            <a:ext cx="2286000" cy="228600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B25872-4891-6146-9FA2-91279C04C2BD}"/>
              </a:ext>
            </a:extLst>
          </p:cNvPr>
          <p:cNvSpPr>
            <a:spLocks noGrp="1"/>
          </p:cNvSpPr>
          <p:nvPr>
            <p:ph type="ctrTitle" hasCustomPrompt="1"/>
          </p:nvPr>
        </p:nvSpPr>
        <p:spPr>
          <a:xfrm>
            <a:off x="609600" y="1122363"/>
            <a:ext cx="5486400" cy="2387600"/>
          </a:xfrm>
          <a:prstGeom prst="rect">
            <a:avLst/>
          </a:prstGeom>
        </p:spPr>
        <p:txBody>
          <a:bodyPr lIns="0" anchor="b">
            <a:normAutofit/>
          </a:bodyPr>
          <a:lstStyle>
            <a:lvl1pPr algn="l">
              <a:defRPr sz="4000" b="1">
                <a:solidFill>
                  <a:schemeClr val="bg1"/>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603B39CB-CAA2-6847-BDAF-FC2D466EDA1B}"/>
              </a:ext>
            </a:extLst>
          </p:cNvPr>
          <p:cNvSpPr>
            <a:spLocks noGrp="1"/>
          </p:cNvSpPr>
          <p:nvPr>
            <p:ph type="subTitle" idx="1"/>
          </p:nvPr>
        </p:nvSpPr>
        <p:spPr>
          <a:xfrm>
            <a:off x="609600" y="3602038"/>
            <a:ext cx="5486400" cy="1655762"/>
          </a:xfrm>
          <a:prstGeom prst="rect">
            <a:avLst/>
          </a:prstGeom>
        </p:spPr>
        <p:txBody>
          <a:bodyPr lIns="0"/>
          <a:lstStyle>
            <a:lvl1pPr marL="0" indent="0" algn="l">
              <a:buNone/>
              <a:defRPr sz="2400">
                <a:solidFill>
                  <a:schemeClr val="tx1">
                    <a:lumMod val="60000"/>
                    <a:lumOff val="4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20" name="Picture 19" descr="A picture containing drawing&#10;&#10;Description automatically generated">
            <a:extLst>
              <a:ext uri="{FF2B5EF4-FFF2-40B4-BE49-F238E27FC236}">
                <a16:creationId xmlns:a16="http://schemas.microsoft.com/office/drawing/2014/main" id="{DB6E5D94-AC90-6B4F-BE6B-A10AEBF3FB47}"/>
              </a:ext>
            </a:extLst>
          </p:cNvPr>
          <p:cNvPicPr>
            <a:picLocks noChangeAspect="1"/>
          </p:cNvPicPr>
          <p:nvPr userDrawn="1"/>
        </p:nvPicPr>
        <p:blipFill>
          <a:blip r:embed="rId2"/>
          <a:stretch>
            <a:fillRect/>
          </a:stretch>
        </p:blipFill>
        <p:spPr>
          <a:xfrm>
            <a:off x="609600" y="5610543"/>
            <a:ext cx="3200400" cy="553681"/>
          </a:xfrm>
          <a:prstGeom prst="rect">
            <a:avLst/>
          </a:prstGeom>
        </p:spPr>
      </p:pic>
    </p:spTree>
    <p:extLst>
      <p:ext uri="{BB962C8B-B14F-4D97-AF65-F5344CB8AC3E}">
        <p14:creationId xmlns:p14="http://schemas.microsoft.com/office/powerpoint/2010/main" val="1729153649"/>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5112">
          <p15:clr>
            <a:srgbClr val="FBAE40"/>
          </p15:clr>
        </p15:guide>
        <p15:guide id="4" pos="2568">
          <p15:clr>
            <a:srgbClr val="FBAE40"/>
          </p15:clr>
        </p15:guide>
        <p15:guide id="5" orient="horz">
          <p15:clr>
            <a:srgbClr val="FBAE40"/>
          </p15:clr>
        </p15:guide>
        <p15:guide id="6" orient="horz" pos="4320">
          <p15:clr>
            <a:srgbClr val="FBAE40"/>
          </p15:clr>
        </p15:guide>
        <p15:guide id="7" pos="384">
          <p15:clr>
            <a:srgbClr val="FBAE40"/>
          </p15:clr>
        </p15:guide>
        <p15:guide id="8" pos="729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DF2BFE76-7332-4846-8030-F5A8AACBB7BB}"/>
              </a:ext>
            </a:extLst>
          </p:cNvPr>
          <p:cNvSpPr>
            <a:spLocks noChangeAspect="1"/>
          </p:cNvSpPr>
          <p:nvPr userDrawn="1"/>
        </p:nvSpPr>
        <p:spPr>
          <a:xfrm flipH="1">
            <a:off x="9906000" y="4572000"/>
            <a:ext cx="2286000" cy="2286000"/>
          </a:xfrm>
          <a:prstGeom prst="rtTriangle">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CF276C8-B8B9-AC40-BBF1-86742BF7EB5F}"/>
              </a:ext>
            </a:extLst>
          </p:cNvPr>
          <p:cNvSpPr>
            <a:spLocks noGrp="1"/>
          </p:cNvSpPr>
          <p:nvPr>
            <p:ph type="title"/>
          </p:nvPr>
        </p:nvSpPr>
        <p:spPr>
          <a:xfrm>
            <a:off x="609600" y="612313"/>
            <a:ext cx="10972800" cy="731520"/>
          </a:xfrm>
          <a:prstGeom prst="rect">
            <a:avLst/>
          </a:prstGeom>
        </p:spPr>
        <p:txBody>
          <a:bodyPr anchor="b">
            <a:noAutofit/>
          </a:bodyPr>
          <a:lstStyle>
            <a:lvl1pPr>
              <a:defRPr sz="2200" b="1">
                <a:solidFill>
                  <a:schemeClr val="bg2"/>
                </a:solidFill>
                <a:latin typeface="+mn-lt"/>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C8235559-4E2D-5645-BF73-19FF83454EE8}"/>
              </a:ext>
            </a:extLst>
          </p:cNvPr>
          <p:cNvSpPr>
            <a:spLocks noGrp="1"/>
          </p:cNvSpPr>
          <p:nvPr>
            <p:ph idx="1"/>
          </p:nvPr>
        </p:nvSpPr>
        <p:spPr>
          <a:xfrm>
            <a:off x="609600" y="1521634"/>
            <a:ext cx="10972800" cy="4655329"/>
          </a:xfrm>
          <a:prstGeom prst="rect">
            <a:avLst/>
          </a:prstGeom>
        </p:spPr>
        <p:txBody>
          <a:bodyPr>
            <a:no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EC2ACFF1-80A8-9B4D-BA8A-B56EA6B01293}"/>
              </a:ext>
            </a:extLst>
          </p:cNvPr>
          <p:cNvCxnSpPr>
            <a:cxnSpLocks/>
          </p:cNvCxnSpPr>
          <p:nvPr userDrawn="1"/>
        </p:nvCxnSpPr>
        <p:spPr>
          <a:xfrm>
            <a:off x="609600" y="1432733"/>
            <a:ext cx="10972800"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EF9E5462-932F-844A-B15D-B8F3A1ABC7D7}"/>
              </a:ext>
            </a:extLst>
          </p:cNvPr>
          <p:cNvSpPr>
            <a:spLocks noGrp="1"/>
          </p:cNvSpPr>
          <p:nvPr>
            <p:ph type="body" sz="quarter" idx="13" hasCustomPrompt="1"/>
          </p:nvPr>
        </p:nvSpPr>
        <p:spPr>
          <a:xfrm>
            <a:off x="609600" y="215900"/>
            <a:ext cx="3429000" cy="365760"/>
          </a:xfrm>
          <a:prstGeom prst="rect">
            <a:avLst/>
          </a:prstGeom>
        </p:spPr>
        <p:txBody>
          <a:bodyPr anchor="ctr">
            <a:noAutofit/>
          </a:bodyPr>
          <a:lstStyle>
            <a:lvl1pPr marL="0" indent="0">
              <a:buNone/>
              <a:defRPr sz="1400" b="1">
                <a:solidFill>
                  <a:schemeClr val="tx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15" name="Slide Number Placeholder 5">
            <a:extLst>
              <a:ext uri="{FF2B5EF4-FFF2-40B4-BE49-F238E27FC236}">
                <a16:creationId xmlns:a16="http://schemas.microsoft.com/office/drawing/2014/main" id="{287513A7-014F-DA43-9B2E-3C156459FAC2}"/>
              </a:ext>
            </a:extLst>
          </p:cNvPr>
          <p:cNvSpPr>
            <a:spLocks noGrp="1"/>
          </p:cNvSpPr>
          <p:nvPr>
            <p:ph type="sldNum" sz="quarter" idx="4"/>
          </p:nvPr>
        </p:nvSpPr>
        <p:spPr>
          <a:xfrm>
            <a:off x="10972800" y="6356350"/>
            <a:ext cx="609600" cy="365125"/>
          </a:xfrm>
          <a:prstGeom prst="rect">
            <a:avLst/>
          </a:prstGeom>
        </p:spPr>
        <p:txBody>
          <a:bodyPr anchor="ctr"/>
          <a:lstStyle>
            <a:lvl1pPr algn="ctr">
              <a:defRPr sz="1000" b="1">
                <a:solidFill>
                  <a:schemeClr val="tx1">
                    <a:lumMod val="40000"/>
                    <a:lumOff val="60000"/>
                  </a:schemeClr>
                </a:solidFill>
              </a:defRPr>
            </a:lvl1pPr>
          </a:lstStyle>
          <a:p>
            <a:fld id="{E1123682-AE52-6D45-865E-F1EB3AE0E340}" type="slidenum">
              <a:rPr lang="en-US" smtClean="0"/>
              <a:pPr/>
              <a:t>‹#›</a:t>
            </a:fld>
            <a:endParaRPr lang="en-US" dirty="0"/>
          </a:p>
        </p:txBody>
      </p:sp>
    </p:spTree>
    <p:extLst>
      <p:ext uri="{BB962C8B-B14F-4D97-AF65-F5344CB8AC3E}">
        <p14:creationId xmlns:p14="http://schemas.microsoft.com/office/powerpoint/2010/main" val="155379022"/>
      </p:ext>
    </p:extLst>
  </p:cSld>
  <p:clrMapOvr>
    <a:masterClrMapping/>
  </p:clrMapOvr>
  <p:extLst>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Blank Slide">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DF2BFE76-7332-4846-8030-F5A8AACBB7BB}"/>
              </a:ext>
            </a:extLst>
          </p:cNvPr>
          <p:cNvSpPr>
            <a:spLocks noChangeAspect="1"/>
          </p:cNvSpPr>
          <p:nvPr userDrawn="1"/>
        </p:nvSpPr>
        <p:spPr>
          <a:xfrm flipH="1">
            <a:off x="9906000" y="4572000"/>
            <a:ext cx="2286000" cy="2286000"/>
          </a:xfrm>
          <a:prstGeom prst="rtTriangle">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CF276C8-B8B9-AC40-BBF1-86742BF7EB5F}"/>
              </a:ext>
            </a:extLst>
          </p:cNvPr>
          <p:cNvSpPr>
            <a:spLocks noGrp="1"/>
          </p:cNvSpPr>
          <p:nvPr>
            <p:ph type="title"/>
          </p:nvPr>
        </p:nvSpPr>
        <p:spPr>
          <a:xfrm>
            <a:off x="609600" y="612313"/>
            <a:ext cx="10972800" cy="731520"/>
          </a:xfrm>
          <a:prstGeom prst="rect">
            <a:avLst/>
          </a:prstGeom>
        </p:spPr>
        <p:txBody>
          <a:bodyPr anchor="b">
            <a:noAutofit/>
          </a:bodyPr>
          <a:lstStyle>
            <a:lvl1pPr>
              <a:defRPr sz="2200" b="1">
                <a:solidFill>
                  <a:schemeClr val="bg2"/>
                </a:solidFill>
                <a:latin typeface="+mn-lt"/>
              </a:defRPr>
            </a:lvl1pPr>
          </a:lstStyle>
          <a:p>
            <a:r>
              <a:rPr lang="en-US"/>
              <a:t>Click to edit Master title style</a:t>
            </a:r>
            <a:endParaRPr lang="en-US" dirty="0"/>
          </a:p>
        </p:txBody>
      </p:sp>
      <p:cxnSp>
        <p:nvCxnSpPr>
          <p:cNvPr id="8" name="Straight Connector 7">
            <a:extLst>
              <a:ext uri="{FF2B5EF4-FFF2-40B4-BE49-F238E27FC236}">
                <a16:creationId xmlns:a16="http://schemas.microsoft.com/office/drawing/2014/main" id="{EC2ACFF1-80A8-9B4D-BA8A-B56EA6B01293}"/>
              </a:ext>
            </a:extLst>
          </p:cNvPr>
          <p:cNvCxnSpPr>
            <a:cxnSpLocks/>
          </p:cNvCxnSpPr>
          <p:nvPr userDrawn="1"/>
        </p:nvCxnSpPr>
        <p:spPr>
          <a:xfrm>
            <a:off x="609600" y="1432733"/>
            <a:ext cx="10972800"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EF9E5462-932F-844A-B15D-B8F3A1ABC7D7}"/>
              </a:ext>
            </a:extLst>
          </p:cNvPr>
          <p:cNvSpPr>
            <a:spLocks noGrp="1"/>
          </p:cNvSpPr>
          <p:nvPr>
            <p:ph type="body" sz="quarter" idx="13" hasCustomPrompt="1"/>
          </p:nvPr>
        </p:nvSpPr>
        <p:spPr>
          <a:xfrm>
            <a:off x="609600" y="215900"/>
            <a:ext cx="3429000" cy="365760"/>
          </a:xfrm>
          <a:prstGeom prst="rect">
            <a:avLst/>
          </a:prstGeom>
        </p:spPr>
        <p:txBody>
          <a:bodyPr anchor="ctr">
            <a:noAutofit/>
          </a:bodyPr>
          <a:lstStyle>
            <a:lvl1pPr marL="0" indent="0">
              <a:buNone/>
              <a:defRPr sz="1400" b="1">
                <a:solidFill>
                  <a:schemeClr val="tx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15" name="Slide Number Placeholder 5">
            <a:extLst>
              <a:ext uri="{FF2B5EF4-FFF2-40B4-BE49-F238E27FC236}">
                <a16:creationId xmlns:a16="http://schemas.microsoft.com/office/drawing/2014/main" id="{287513A7-014F-DA43-9B2E-3C156459FAC2}"/>
              </a:ext>
            </a:extLst>
          </p:cNvPr>
          <p:cNvSpPr>
            <a:spLocks noGrp="1"/>
          </p:cNvSpPr>
          <p:nvPr>
            <p:ph type="sldNum" sz="quarter" idx="4"/>
          </p:nvPr>
        </p:nvSpPr>
        <p:spPr>
          <a:xfrm>
            <a:off x="10972800" y="6356350"/>
            <a:ext cx="609600" cy="365125"/>
          </a:xfrm>
          <a:prstGeom prst="rect">
            <a:avLst/>
          </a:prstGeom>
        </p:spPr>
        <p:txBody>
          <a:bodyPr anchor="ctr"/>
          <a:lstStyle>
            <a:lvl1pPr algn="ctr">
              <a:defRPr sz="1000" b="1">
                <a:solidFill>
                  <a:schemeClr val="tx1">
                    <a:lumMod val="40000"/>
                    <a:lumOff val="60000"/>
                  </a:schemeClr>
                </a:solidFill>
              </a:defRPr>
            </a:lvl1pPr>
          </a:lstStyle>
          <a:p>
            <a:fld id="{E1123682-AE52-6D45-865E-F1EB3AE0E340}" type="slidenum">
              <a:rPr lang="en-US" smtClean="0"/>
              <a:pPr/>
              <a:t>‹#›</a:t>
            </a:fld>
            <a:endParaRPr lang="en-US" dirty="0"/>
          </a:p>
        </p:txBody>
      </p:sp>
    </p:spTree>
    <p:extLst>
      <p:ext uri="{BB962C8B-B14F-4D97-AF65-F5344CB8AC3E}">
        <p14:creationId xmlns:p14="http://schemas.microsoft.com/office/powerpoint/2010/main" val="1250757662"/>
      </p:ext>
    </p:extLst>
  </p:cSld>
  <p:clrMapOvr>
    <a:masterClrMapping/>
  </p:clrMapOvr>
  <p:extLst>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Divider Slide">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791C8777-582C-574B-97BC-E912AC45605D}"/>
              </a:ext>
            </a:extLst>
          </p:cNvPr>
          <p:cNvSpPr/>
          <p:nvPr userDrawn="1"/>
        </p:nvSpPr>
        <p:spPr>
          <a:xfrm rot="2700000">
            <a:off x="6671312" y="-1832237"/>
            <a:ext cx="1828800" cy="8096182"/>
          </a:xfrm>
          <a:custGeom>
            <a:avLst/>
            <a:gdLst>
              <a:gd name="connsiteX0" fmla="*/ 0 w 1828800"/>
              <a:gd name="connsiteY0" fmla="*/ 1828800 h 8096182"/>
              <a:gd name="connsiteX1" fmla="*/ 1828800 w 1828800"/>
              <a:gd name="connsiteY1" fmla="*/ 0 h 8096182"/>
              <a:gd name="connsiteX2" fmla="*/ 1828800 w 1828800"/>
              <a:gd name="connsiteY2" fmla="*/ 8096182 h 8096182"/>
              <a:gd name="connsiteX3" fmla="*/ 0 w 1828800"/>
              <a:gd name="connsiteY3" fmla="*/ 8096182 h 8096182"/>
            </a:gdLst>
            <a:ahLst/>
            <a:cxnLst>
              <a:cxn ang="0">
                <a:pos x="connsiteX0" y="connsiteY0"/>
              </a:cxn>
              <a:cxn ang="0">
                <a:pos x="connsiteX1" y="connsiteY1"/>
              </a:cxn>
              <a:cxn ang="0">
                <a:pos x="connsiteX2" y="connsiteY2"/>
              </a:cxn>
              <a:cxn ang="0">
                <a:pos x="connsiteX3" y="connsiteY3"/>
              </a:cxn>
            </a:cxnLst>
            <a:rect l="l" t="t" r="r" b="b"/>
            <a:pathLst>
              <a:path w="1828800" h="8096182">
                <a:moveTo>
                  <a:pt x="0" y="1828800"/>
                </a:moveTo>
                <a:lnTo>
                  <a:pt x="1828800" y="0"/>
                </a:lnTo>
                <a:lnTo>
                  <a:pt x="1828800" y="8096182"/>
                </a:lnTo>
                <a:lnTo>
                  <a:pt x="0" y="8096182"/>
                </a:lnTo>
                <a:close/>
              </a:path>
            </a:pathLst>
          </a:cu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a:extLst>
              <a:ext uri="{FF2B5EF4-FFF2-40B4-BE49-F238E27FC236}">
                <a16:creationId xmlns:a16="http://schemas.microsoft.com/office/drawing/2014/main" id="{06042A4F-E5BA-ED4C-89FF-EA0172C2E6B2}"/>
              </a:ext>
            </a:extLst>
          </p:cNvPr>
          <p:cNvSpPr/>
          <p:nvPr userDrawn="1"/>
        </p:nvSpPr>
        <p:spPr>
          <a:xfrm>
            <a:off x="4076700" y="0"/>
            <a:ext cx="8115300" cy="6858000"/>
          </a:xfrm>
          <a:custGeom>
            <a:avLst/>
            <a:gdLst>
              <a:gd name="connsiteX0" fmla="*/ 6858000 w 8115300"/>
              <a:gd name="connsiteY0" fmla="*/ 0 h 6858000"/>
              <a:gd name="connsiteX1" fmla="*/ 8115300 w 8115300"/>
              <a:gd name="connsiteY1" fmla="*/ 0 h 6858000"/>
              <a:gd name="connsiteX2" fmla="*/ 8115300 w 8115300"/>
              <a:gd name="connsiteY2" fmla="*/ 6858000 h 6858000"/>
              <a:gd name="connsiteX3" fmla="*/ 0 w 81153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15300" h="6858000">
                <a:moveTo>
                  <a:pt x="6858000" y="0"/>
                </a:moveTo>
                <a:lnTo>
                  <a:pt x="8115300" y="0"/>
                </a:lnTo>
                <a:lnTo>
                  <a:pt x="8115300" y="6858000"/>
                </a:lnTo>
                <a:lnTo>
                  <a:pt x="0" y="6858000"/>
                </a:lnTo>
                <a:close/>
              </a:path>
            </a:pathLst>
          </a:cu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10" name="Right Triangle 9">
            <a:extLst>
              <a:ext uri="{FF2B5EF4-FFF2-40B4-BE49-F238E27FC236}">
                <a16:creationId xmlns:a16="http://schemas.microsoft.com/office/drawing/2014/main" id="{827155A6-1D47-A94C-8D84-77493E224F72}"/>
              </a:ext>
            </a:extLst>
          </p:cNvPr>
          <p:cNvSpPr>
            <a:spLocks noChangeAspect="1"/>
          </p:cNvSpPr>
          <p:nvPr userDrawn="1"/>
        </p:nvSpPr>
        <p:spPr>
          <a:xfrm flipH="1">
            <a:off x="9906000" y="4572000"/>
            <a:ext cx="2286000" cy="228600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1EA74F1-B26B-754D-9D02-865482652365}"/>
              </a:ext>
            </a:extLst>
          </p:cNvPr>
          <p:cNvSpPr>
            <a:spLocks noGrp="1"/>
          </p:cNvSpPr>
          <p:nvPr>
            <p:ph type="title"/>
          </p:nvPr>
        </p:nvSpPr>
        <p:spPr>
          <a:xfrm>
            <a:off x="831850" y="1330020"/>
            <a:ext cx="10515600" cy="2852737"/>
          </a:xfrm>
          <a:prstGeom prst="rect">
            <a:avLst/>
          </a:prstGeom>
        </p:spPr>
        <p:txBody>
          <a:bodyPr anchor="b"/>
          <a:lstStyle>
            <a:lvl1pPr>
              <a:defRPr sz="4000" b="1">
                <a:solidFill>
                  <a:schemeClr val="bg2"/>
                </a:solidFill>
                <a:latin typeface="+mn-lt"/>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562D50AB-F47B-FF48-B8FA-0296C5D02D17}"/>
              </a:ext>
            </a:extLst>
          </p:cNvPr>
          <p:cNvSpPr>
            <a:spLocks noGrp="1"/>
          </p:cNvSpPr>
          <p:nvPr>
            <p:ph type="body" idx="1"/>
          </p:nvPr>
        </p:nvSpPr>
        <p:spPr>
          <a:xfrm>
            <a:off x="831850" y="4209745"/>
            <a:ext cx="10515600" cy="1500187"/>
          </a:xfrm>
          <a:prstGeom prst="rect">
            <a:avLst/>
          </a:prstGeom>
        </p:spPr>
        <p:txBody>
          <a:bodyPr/>
          <a:lstStyle>
            <a:lvl1pPr marL="0" indent="0">
              <a:buNone/>
              <a:defRPr sz="2400">
                <a:solidFill>
                  <a:schemeClr val="tx2">
                    <a:lumMod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3656511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tatement Slide">
    <p:bg>
      <p:bgPr>
        <a:solidFill>
          <a:srgbClr val="091B2F"/>
        </a:solidFill>
        <a:effectLst/>
      </p:bgPr>
    </p:bg>
    <p:spTree>
      <p:nvGrpSpPr>
        <p:cNvPr id="1" name=""/>
        <p:cNvGrpSpPr/>
        <p:nvPr/>
      </p:nvGrpSpPr>
      <p:grpSpPr>
        <a:xfrm>
          <a:off x="0" y="0"/>
          <a:ext cx="0" cy="0"/>
          <a:chOff x="0" y="0"/>
          <a:chExt cx="0" cy="0"/>
        </a:xfrm>
      </p:grpSpPr>
      <p:pic>
        <p:nvPicPr>
          <p:cNvPr id="7" name="Picture 6" descr="A picture containing drawing&#10;&#10;Description automatically generated">
            <a:extLst>
              <a:ext uri="{FF2B5EF4-FFF2-40B4-BE49-F238E27FC236}">
                <a16:creationId xmlns:a16="http://schemas.microsoft.com/office/drawing/2014/main" id="{3F41D9A4-6646-594E-9436-29D89F0D57CC}"/>
              </a:ext>
            </a:extLst>
          </p:cNvPr>
          <p:cNvPicPr>
            <a:picLocks noChangeAspect="1"/>
          </p:cNvPicPr>
          <p:nvPr userDrawn="1"/>
        </p:nvPicPr>
        <p:blipFill>
          <a:blip r:embed="rId2"/>
          <a:stretch>
            <a:fillRect/>
          </a:stretch>
        </p:blipFill>
        <p:spPr>
          <a:xfrm>
            <a:off x="609600" y="6400491"/>
            <a:ext cx="1600200" cy="276841"/>
          </a:xfrm>
          <a:prstGeom prst="rect">
            <a:avLst/>
          </a:prstGeom>
        </p:spPr>
      </p:pic>
      <p:sp>
        <p:nvSpPr>
          <p:cNvPr id="5" name="Text Placeholder 4">
            <a:extLst>
              <a:ext uri="{FF2B5EF4-FFF2-40B4-BE49-F238E27FC236}">
                <a16:creationId xmlns:a16="http://schemas.microsoft.com/office/drawing/2014/main" id="{13BAF130-ED13-9344-98FE-BA54891F1ADE}"/>
              </a:ext>
            </a:extLst>
          </p:cNvPr>
          <p:cNvSpPr>
            <a:spLocks noGrp="1"/>
          </p:cNvSpPr>
          <p:nvPr>
            <p:ph type="body" sz="quarter" idx="10"/>
          </p:nvPr>
        </p:nvSpPr>
        <p:spPr>
          <a:xfrm>
            <a:off x="2000250" y="1092200"/>
            <a:ext cx="8191500" cy="3962400"/>
          </a:xfrm>
          <a:prstGeom prst="rect">
            <a:avLst/>
          </a:prstGeom>
        </p:spPr>
        <p:txBody>
          <a:bodyPr anchor="ctr"/>
          <a:lstStyle>
            <a:lvl1pPr marL="0" indent="0" algn="ctr">
              <a:buNone/>
              <a:defRPr sz="4000">
                <a:solidFill>
                  <a:schemeClr val="bg1"/>
                </a:solidFill>
              </a:defRPr>
            </a:lvl1pPr>
          </a:lstStyle>
          <a:p>
            <a:pPr lvl="0"/>
            <a:r>
              <a:rPr lang="en-US"/>
              <a:t>Click to edit Master text styles</a:t>
            </a:r>
          </a:p>
        </p:txBody>
      </p:sp>
      <p:sp>
        <p:nvSpPr>
          <p:cNvPr id="10" name="Slide Number Placeholder 5">
            <a:extLst>
              <a:ext uri="{FF2B5EF4-FFF2-40B4-BE49-F238E27FC236}">
                <a16:creationId xmlns:a16="http://schemas.microsoft.com/office/drawing/2014/main" id="{920814F4-D2A0-6546-B848-C5677E51BFEA}"/>
              </a:ext>
            </a:extLst>
          </p:cNvPr>
          <p:cNvSpPr>
            <a:spLocks noGrp="1"/>
          </p:cNvSpPr>
          <p:nvPr>
            <p:ph type="sldNum" sz="quarter" idx="4"/>
          </p:nvPr>
        </p:nvSpPr>
        <p:spPr>
          <a:xfrm>
            <a:off x="10972800" y="6356350"/>
            <a:ext cx="609600" cy="365125"/>
          </a:xfrm>
          <a:prstGeom prst="rect">
            <a:avLst/>
          </a:prstGeom>
        </p:spPr>
        <p:txBody>
          <a:bodyPr anchor="ctr"/>
          <a:lstStyle>
            <a:lvl1pPr algn="ctr">
              <a:defRPr sz="1000" b="1">
                <a:solidFill>
                  <a:schemeClr val="bg1"/>
                </a:solidFill>
              </a:defRPr>
            </a:lvl1pPr>
          </a:lstStyle>
          <a:p>
            <a:fld id="{E1123682-AE52-6D45-865E-F1EB3AE0E340}" type="slidenum">
              <a:rPr lang="en-US" smtClean="0"/>
              <a:pPr/>
              <a:t>‹#›</a:t>
            </a:fld>
            <a:endParaRPr lang="en-US" dirty="0"/>
          </a:p>
        </p:txBody>
      </p:sp>
      <p:sp>
        <p:nvSpPr>
          <p:cNvPr id="11" name="Rectangle 10">
            <a:extLst>
              <a:ext uri="{FF2B5EF4-FFF2-40B4-BE49-F238E27FC236}">
                <a16:creationId xmlns:a16="http://schemas.microsoft.com/office/drawing/2014/main" id="{8B6387E3-136A-B44C-8BD9-F40E8954ADF4}"/>
              </a:ext>
            </a:extLst>
          </p:cNvPr>
          <p:cNvSpPr/>
          <p:nvPr userDrawn="1"/>
        </p:nvSpPr>
        <p:spPr>
          <a:xfrm>
            <a:off x="5243979" y="6385561"/>
            <a:ext cx="5601821" cy="306702"/>
          </a:xfrm>
          <a:prstGeom prst="rect">
            <a:avLst/>
          </a:prstGeom>
        </p:spPr>
        <p:txBody>
          <a:bodyPr vert="horz" lIns="78396" tIns="39199" rIns="78396" bIns="39199" rtlCol="0" anchor="ctr"/>
          <a:lstStyle/>
          <a:p>
            <a:pPr lvl="0" algn="r"/>
            <a:r>
              <a:rPr lang="en-US" sz="700" dirty="0">
                <a:solidFill>
                  <a:schemeClr val="bg1"/>
                </a:solidFill>
              </a:rPr>
              <a:t>© 2021</a:t>
            </a:r>
            <a:r>
              <a:rPr lang="en-US" sz="700" baseline="0" dirty="0">
                <a:solidFill>
                  <a:schemeClr val="bg1"/>
                </a:solidFill>
              </a:rPr>
              <a:t> </a:t>
            </a:r>
            <a:r>
              <a:rPr lang="en-US" sz="700" dirty="0">
                <a:solidFill>
                  <a:schemeClr val="bg1"/>
                </a:solidFill>
              </a:rPr>
              <a:t>West Monroe Partners |</a:t>
            </a:r>
            <a:r>
              <a:rPr lang="en-US" sz="700" baseline="0" dirty="0">
                <a:solidFill>
                  <a:schemeClr val="bg1"/>
                </a:solidFill>
              </a:rPr>
              <a:t> </a:t>
            </a:r>
            <a:r>
              <a:rPr lang="en-US" sz="700" dirty="0">
                <a:solidFill>
                  <a:schemeClr val="bg1"/>
                </a:solidFill>
              </a:rPr>
              <a:t>Reproduction and distribution without West Monroe Partners prior consent is prohibited.</a:t>
            </a:r>
          </a:p>
        </p:txBody>
      </p:sp>
      <p:cxnSp>
        <p:nvCxnSpPr>
          <p:cNvPr id="13" name="Straight Connector 12">
            <a:extLst>
              <a:ext uri="{FF2B5EF4-FFF2-40B4-BE49-F238E27FC236}">
                <a16:creationId xmlns:a16="http://schemas.microsoft.com/office/drawing/2014/main" id="{1C97E9CF-B24C-5641-963E-70601ECF1A55}"/>
              </a:ext>
            </a:extLst>
          </p:cNvPr>
          <p:cNvCxnSpPr/>
          <p:nvPr userDrawn="1"/>
        </p:nvCxnSpPr>
        <p:spPr>
          <a:xfrm>
            <a:off x="10972800" y="6401752"/>
            <a:ext cx="0" cy="274320"/>
          </a:xfrm>
          <a:prstGeom prst="line">
            <a:avLst/>
          </a:prstGeom>
          <a:ln w="9525">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792539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5112">
          <p15:clr>
            <a:srgbClr val="FBAE40"/>
          </p15:clr>
        </p15:guide>
        <p15:guide id="4" pos="2568">
          <p15:clr>
            <a:srgbClr val="FBAE40"/>
          </p15:clr>
        </p15:guide>
        <p15:guide id="5" orient="horz">
          <p15:clr>
            <a:srgbClr val="FBAE40"/>
          </p15:clr>
        </p15:guide>
        <p15:guide id="6" orient="horz" pos="4320">
          <p15:clr>
            <a:srgbClr val="FBAE40"/>
          </p15:clr>
        </p15:guide>
        <p15:guide id="7" pos="384">
          <p15:clr>
            <a:srgbClr val="FBAE40"/>
          </p15:clr>
        </p15:guide>
        <p15:guide id="8" pos="729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Whitespace Slide">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A1D3F0C0-28C6-894A-9222-79E09E2F7FE2}"/>
              </a:ext>
            </a:extLst>
          </p:cNvPr>
          <p:cNvSpPr>
            <a:spLocks noGrp="1"/>
          </p:cNvSpPr>
          <p:nvPr>
            <p:ph type="sldNum" sz="quarter" idx="4"/>
          </p:nvPr>
        </p:nvSpPr>
        <p:spPr>
          <a:xfrm>
            <a:off x="10972800" y="6356350"/>
            <a:ext cx="609600" cy="365125"/>
          </a:xfrm>
          <a:prstGeom prst="rect">
            <a:avLst/>
          </a:prstGeom>
        </p:spPr>
        <p:txBody>
          <a:bodyPr anchor="ctr"/>
          <a:lstStyle>
            <a:lvl1pPr algn="ctr">
              <a:defRPr sz="1000" b="1">
                <a:solidFill>
                  <a:schemeClr val="tx1">
                    <a:lumMod val="40000"/>
                    <a:lumOff val="60000"/>
                  </a:schemeClr>
                </a:solidFill>
              </a:defRPr>
            </a:lvl1pPr>
          </a:lstStyle>
          <a:p>
            <a:fld id="{E1123682-AE52-6D45-865E-F1EB3AE0E340}" type="slidenum">
              <a:rPr lang="en-US" smtClean="0"/>
              <a:pPr/>
              <a:t>‹#›</a:t>
            </a:fld>
            <a:endParaRPr lang="en-US" dirty="0"/>
          </a:p>
        </p:txBody>
      </p:sp>
    </p:spTree>
    <p:extLst>
      <p:ext uri="{BB962C8B-B14F-4D97-AF65-F5344CB8AC3E}">
        <p14:creationId xmlns:p14="http://schemas.microsoft.com/office/powerpoint/2010/main" val="12565581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ient Story Slide">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DF2BFE76-7332-4846-8030-F5A8AACBB7BB}"/>
              </a:ext>
            </a:extLst>
          </p:cNvPr>
          <p:cNvSpPr>
            <a:spLocks noChangeAspect="1"/>
          </p:cNvSpPr>
          <p:nvPr userDrawn="1"/>
        </p:nvSpPr>
        <p:spPr>
          <a:xfrm flipH="1">
            <a:off x="9906000" y="4572000"/>
            <a:ext cx="2286000" cy="2286000"/>
          </a:xfrm>
          <a:prstGeom prst="rtTriangle">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287513A7-014F-DA43-9B2E-3C156459FAC2}"/>
              </a:ext>
            </a:extLst>
          </p:cNvPr>
          <p:cNvSpPr>
            <a:spLocks noGrp="1"/>
          </p:cNvSpPr>
          <p:nvPr>
            <p:ph type="sldNum" sz="quarter" idx="4"/>
          </p:nvPr>
        </p:nvSpPr>
        <p:spPr>
          <a:xfrm>
            <a:off x="10972800" y="6356350"/>
            <a:ext cx="609600" cy="365125"/>
          </a:xfrm>
          <a:prstGeom prst="rect">
            <a:avLst/>
          </a:prstGeom>
        </p:spPr>
        <p:txBody>
          <a:bodyPr anchor="ctr"/>
          <a:lstStyle>
            <a:lvl1pPr algn="ctr">
              <a:defRPr sz="1000" b="1">
                <a:solidFill>
                  <a:schemeClr val="tx1">
                    <a:lumMod val="40000"/>
                    <a:lumOff val="60000"/>
                  </a:schemeClr>
                </a:solidFill>
              </a:defRPr>
            </a:lvl1pPr>
          </a:lstStyle>
          <a:p>
            <a:fld id="{E1123682-AE52-6D45-865E-F1EB3AE0E340}" type="slidenum">
              <a:rPr lang="en-US" smtClean="0"/>
              <a:pPr/>
              <a:t>‹#›</a:t>
            </a:fld>
            <a:endParaRPr lang="en-US" dirty="0"/>
          </a:p>
        </p:txBody>
      </p:sp>
      <p:sp>
        <p:nvSpPr>
          <p:cNvPr id="9" name="Rectangle 8">
            <a:extLst>
              <a:ext uri="{FF2B5EF4-FFF2-40B4-BE49-F238E27FC236}">
                <a16:creationId xmlns:a16="http://schemas.microsoft.com/office/drawing/2014/main" id="{81B625E7-FA9E-E447-831E-5FF5A3C66C52}"/>
              </a:ext>
            </a:extLst>
          </p:cNvPr>
          <p:cNvSpPr/>
          <p:nvPr userDrawn="1"/>
        </p:nvSpPr>
        <p:spPr>
          <a:xfrm>
            <a:off x="0" y="1099"/>
            <a:ext cx="12192000" cy="1144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2" name="Rectangle 11">
            <a:extLst>
              <a:ext uri="{FF2B5EF4-FFF2-40B4-BE49-F238E27FC236}">
                <a16:creationId xmlns:a16="http://schemas.microsoft.com/office/drawing/2014/main" id="{CA0FD137-BFD3-5C4A-B792-7A73953F2F90}"/>
              </a:ext>
            </a:extLst>
          </p:cNvPr>
          <p:cNvSpPr/>
          <p:nvPr userDrawn="1"/>
        </p:nvSpPr>
        <p:spPr>
          <a:xfrm>
            <a:off x="4733819" y="3810856"/>
            <a:ext cx="6858000" cy="369870"/>
          </a:xfrm>
          <a:prstGeom prst="rect">
            <a:avLst/>
          </a:prstGeom>
          <a:solidFill>
            <a:schemeClr val="accent5"/>
          </a:solidFill>
          <a:ln>
            <a:noFill/>
          </a:ln>
          <a:effectLst>
            <a:outerShdw dist="63500" dir="2700000" algn="tl" rotWithShape="0">
              <a:schemeClr val="tx2"/>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600" b="1" spc="300" dirty="0">
                <a:solidFill>
                  <a:schemeClr val="bg2"/>
                </a:solidFill>
              </a:rPr>
              <a:t>RETURNS YOU CAN MEASURE</a:t>
            </a:r>
          </a:p>
        </p:txBody>
      </p:sp>
      <p:sp>
        <p:nvSpPr>
          <p:cNvPr id="13" name="Rectangle 12">
            <a:extLst>
              <a:ext uri="{FF2B5EF4-FFF2-40B4-BE49-F238E27FC236}">
                <a16:creationId xmlns:a16="http://schemas.microsoft.com/office/drawing/2014/main" id="{4FCA6F39-7A88-5C40-8816-D40E8F496D6B}"/>
              </a:ext>
            </a:extLst>
          </p:cNvPr>
          <p:cNvSpPr/>
          <p:nvPr userDrawn="1"/>
        </p:nvSpPr>
        <p:spPr>
          <a:xfrm>
            <a:off x="609599" y="1305060"/>
            <a:ext cx="3328416" cy="3698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300" dirty="0">
                <a:solidFill>
                  <a:schemeClr val="bg2"/>
                </a:solidFill>
              </a:rPr>
              <a:t>THE CHALLENGE</a:t>
            </a:r>
          </a:p>
        </p:txBody>
      </p:sp>
      <p:sp>
        <p:nvSpPr>
          <p:cNvPr id="14" name="Rectangle 13">
            <a:extLst>
              <a:ext uri="{FF2B5EF4-FFF2-40B4-BE49-F238E27FC236}">
                <a16:creationId xmlns:a16="http://schemas.microsoft.com/office/drawing/2014/main" id="{8B3F33C5-81D3-E145-B038-50652AB0A10D}"/>
              </a:ext>
            </a:extLst>
          </p:cNvPr>
          <p:cNvSpPr/>
          <p:nvPr userDrawn="1"/>
        </p:nvSpPr>
        <p:spPr>
          <a:xfrm>
            <a:off x="4733819" y="1305060"/>
            <a:ext cx="6858000" cy="369870"/>
          </a:xfrm>
          <a:prstGeom prst="rect">
            <a:avLst/>
          </a:prstGeom>
          <a:solidFill>
            <a:schemeClr val="bg1">
              <a:lumMod val="95000"/>
            </a:schemeClr>
          </a:solidFill>
          <a:ln>
            <a:noFill/>
          </a:ln>
          <a:effectLst>
            <a:outerShdw dist="63500" dir="2700000" algn="tl" rotWithShape="0">
              <a:schemeClr val="tx2"/>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300" dirty="0">
                <a:solidFill>
                  <a:schemeClr val="bg2"/>
                </a:solidFill>
              </a:rPr>
              <a:t>AN UNDENIABLE APPROACH </a:t>
            </a:r>
          </a:p>
        </p:txBody>
      </p:sp>
      <p:cxnSp>
        <p:nvCxnSpPr>
          <p:cNvPr id="16" name="Straight Connector 15">
            <a:extLst>
              <a:ext uri="{FF2B5EF4-FFF2-40B4-BE49-F238E27FC236}">
                <a16:creationId xmlns:a16="http://schemas.microsoft.com/office/drawing/2014/main" id="{B62F1CCC-B3D8-C74B-8C5F-F0502374E489}"/>
              </a:ext>
            </a:extLst>
          </p:cNvPr>
          <p:cNvCxnSpPr/>
          <p:nvPr userDrawn="1"/>
        </p:nvCxnSpPr>
        <p:spPr>
          <a:xfrm>
            <a:off x="4340832" y="1406660"/>
            <a:ext cx="0" cy="4602822"/>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7654C23D-C235-D143-9283-3DBA23F41834}"/>
              </a:ext>
            </a:extLst>
          </p:cNvPr>
          <p:cNvSpPr>
            <a:spLocks noGrp="1"/>
          </p:cNvSpPr>
          <p:nvPr>
            <p:ph type="title"/>
          </p:nvPr>
        </p:nvSpPr>
        <p:spPr>
          <a:xfrm>
            <a:off x="609600" y="207339"/>
            <a:ext cx="10972800" cy="731520"/>
          </a:xfrm>
          <a:prstGeom prst="rect">
            <a:avLst/>
          </a:prstGeom>
        </p:spPr>
        <p:txBody>
          <a:bodyPr anchor="ctr">
            <a:noAutofit/>
          </a:bodyPr>
          <a:lstStyle>
            <a:lvl1pPr>
              <a:defRPr sz="2200" b="1">
                <a:solidFill>
                  <a:schemeClr val="bg1"/>
                </a:solidFill>
                <a:latin typeface="+mn-lt"/>
              </a:defRPr>
            </a:lvl1pPr>
          </a:lstStyle>
          <a:p>
            <a:r>
              <a:rPr lang="en-US"/>
              <a:t>Click to edit Master title style</a:t>
            </a:r>
            <a:endParaRPr lang="en-US" dirty="0"/>
          </a:p>
        </p:txBody>
      </p:sp>
      <p:sp>
        <p:nvSpPr>
          <p:cNvPr id="21" name="Content Placeholder 2">
            <a:extLst>
              <a:ext uri="{FF2B5EF4-FFF2-40B4-BE49-F238E27FC236}">
                <a16:creationId xmlns:a16="http://schemas.microsoft.com/office/drawing/2014/main" id="{21E2878E-F3C1-C54F-B8F9-BDE15470DAF4}"/>
              </a:ext>
            </a:extLst>
          </p:cNvPr>
          <p:cNvSpPr>
            <a:spLocks noGrp="1"/>
          </p:cNvSpPr>
          <p:nvPr>
            <p:ph idx="1"/>
          </p:nvPr>
        </p:nvSpPr>
        <p:spPr>
          <a:xfrm>
            <a:off x="609600" y="1689275"/>
            <a:ext cx="3328416" cy="4320204"/>
          </a:xfrm>
          <a:prstGeom prst="rect">
            <a:avLst/>
          </a:prstGeom>
        </p:spPr>
        <p:txBody>
          <a:bodyPr>
            <a:noAutofit/>
          </a:bodyPr>
          <a:lstStyle>
            <a:lvl1pPr marL="0" indent="0">
              <a:lnSpc>
                <a:spcPct val="100000"/>
              </a:lnSpc>
              <a:buNone/>
              <a:defRPr sz="1600"/>
            </a:lvl1pPr>
            <a:lvl2pPr marL="457200" indent="0">
              <a:lnSpc>
                <a:spcPct val="100000"/>
              </a:lnSpc>
              <a:buNone/>
              <a:defRPr sz="1600"/>
            </a:lvl2pPr>
            <a:lvl3pPr>
              <a:defRPr sz="1600"/>
            </a:lvl3pPr>
            <a:lvl4pPr>
              <a:defRPr sz="1600"/>
            </a:lvl4pPr>
            <a:lvl5pPr>
              <a:defRPr sz="1600"/>
            </a:lvl5pPr>
          </a:lstStyle>
          <a:p>
            <a:pPr lvl="0"/>
            <a:r>
              <a:rPr lang="en-US"/>
              <a:t>Click to edit Master text styles</a:t>
            </a:r>
          </a:p>
        </p:txBody>
      </p:sp>
      <p:sp>
        <p:nvSpPr>
          <p:cNvPr id="22" name="Content Placeholder 2">
            <a:extLst>
              <a:ext uri="{FF2B5EF4-FFF2-40B4-BE49-F238E27FC236}">
                <a16:creationId xmlns:a16="http://schemas.microsoft.com/office/drawing/2014/main" id="{8F35CB95-DC52-4441-BFDE-4B6CE29CB5EB}"/>
              </a:ext>
            </a:extLst>
          </p:cNvPr>
          <p:cNvSpPr>
            <a:spLocks noGrp="1"/>
          </p:cNvSpPr>
          <p:nvPr>
            <p:ph idx="10"/>
          </p:nvPr>
        </p:nvSpPr>
        <p:spPr>
          <a:xfrm>
            <a:off x="4733816" y="1744895"/>
            <a:ext cx="6858000" cy="1929436"/>
          </a:xfrm>
          <a:prstGeom prst="rect">
            <a:avLst/>
          </a:prstGeom>
        </p:spPr>
        <p:txBody>
          <a:bodyPr>
            <a:no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p:txBody>
      </p:sp>
      <p:sp>
        <p:nvSpPr>
          <p:cNvPr id="23" name="Content Placeholder 2">
            <a:extLst>
              <a:ext uri="{FF2B5EF4-FFF2-40B4-BE49-F238E27FC236}">
                <a16:creationId xmlns:a16="http://schemas.microsoft.com/office/drawing/2014/main" id="{FF458EBC-5F47-7748-B08B-6D11B6B00F96}"/>
              </a:ext>
            </a:extLst>
          </p:cNvPr>
          <p:cNvSpPr>
            <a:spLocks noGrp="1"/>
          </p:cNvSpPr>
          <p:nvPr>
            <p:ph idx="11"/>
          </p:nvPr>
        </p:nvSpPr>
        <p:spPr>
          <a:xfrm>
            <a:off x="4733817" y="4274127"/>
            <a:ext cx="6848581" cy="1735351"/>
          </a:xfrm>
          <a:prstGeom prst="rect">
            <a:avLst/>
          </a:prstGeom>
        </p:spPr>
        <p:txBody>
          <a:bodyPr>
            <a:noAutofit/>
          </a:bodyPr>
          <a:lstStyle>
            <a:lvl1pPr marL="0" indent="0">
              <a:buNone/>
              <a:defRPr sz="1600" b="1"/>
            </a:lvl1pPr>
            <a:lvl2pPr marL="457200" indent="0">
              <a:lnSpc>
                <a:spcPct val="100000"/>
              </a:lnSpc>
              <a:buNone/>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2645744831"/>
      </p:ext>
    </p:extLst>
  </p:cSld>
  <p:clrMapOvr>
    <a:masterClrMapping/>
  </p:clrMapOvr>
  <p:extLst>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ography Slide">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DF2BFE76-7332-4846-8030-F5A8AACBB7BB}"/>
              </a:ext>
            </a:extLst>
          </p:cNvPr>
          <p:cNvSpPr>
            <a:spLocks noChangeAspect="1"/>
          </p:cNvSpPr>
          <p:nvPr userDrawn="1"/>
        </p:nvSpPr>
        <p:spPr>
          <a:xfrm flipH="1">
            <a:off x="9906000" y="4572000"/>
            <a:ext cx="2286000" cy="2286000"/>
          </a:xfrm>
          <a:prstGeom prst="rtTriangle">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CF276C8-B8B9-AC40-BBF1-86742BF7EB5F}"/>
              </a:ext>
            </a:extLst>
          </p:cNvPr>
          <p:cNvSpPr>
            <a:spLocks noGrp="1"/>
          </p:cNvSpPr>
          <p:nvPr>
            <p:ph type="title" hasCustomPrompt="1"/>
          </p:nvPr>
        </p:nvSpPr>
        <p:spPr>
          <a:xfrm>
            <a:off x="609600" y="673272"/>
            <a:ext cx="10972800" cy="424013"/>
          </a:xfrm>
          <a:prstGeom prst="rect">
            <a:avLst/>
          </a:prstGeom>
        </p:spPr>
        <p:txBody>
          <a:bodyPr anchor="ctr">
            <a:noAutofit/>
          </a:bodyPr>
          <a:lstStyle>
            <a:lvl1pPr>
              <a:defRPr sz="2200" b="1">
                <a:solidFill>
                  <a:schemeClr val="bg2"/>
                </a:solidFill>
                <a:latin typeface="+mn-lt"/>
              </a:defRPr>
            </a:lvl1pPr>
          </a:lstStyle>
          <a:p>
            <a:r>
              <a:rPr lang="en-US" dirty="0"/>
              <a:t>Individual’s Name</a:t>
            </a:r>
          </a:p>
        </p:txBody>
      </p:sp>
      <p:cxnSp>
        <p:nvCxnSpPr>
          <p:cNvPr id="8" name="Straight Connector 7">
            <a:extLst>
              <a:ext uri="{FF2B5EF4-FFF2-40B4-BE49-F238E27FC236}">
                <a16:creationId xmlns:a16="http://schemas.microsoft.com/office/drawing/2014/main" id="{EC2ACFF1-80A8-9B4D-BA8A-B56EA6B01293}"/>
              </a:ext>
            </a:extLst>
          </p:cNvPr>
          <p:cNvCxnSpPr>
            <a:cxnSpLocks/>
          </p:cNvCxnSpPr>
          <p:nvPr userDrawn="1"/>
        </p:nvCxnSpPr>
        <p:spPr>
          <a:xfrm>
            <a:off x="609600" y="1432733"/>
            <a:ext cx="10972800"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EF9E5462-932F-844A-B15D-B8F3A1ABC7D7}"/>
              </a:ext>
            </a:extLst>
          </p:cNvPr>
          <p:cNvSpPr>
            <a:spLocks noGrp="1"/>
          </p:cNvSpPr>
          <p:nvPr>
            <p:ph type="body" sz="quarter" idx="13" hasCustomPrompt="1"/>
          </p:nvPr>
        </p:nvSpPr>
        <p:spPr>
          <a:xfrm>
            <a:off x="609600" y="215900"/>
            <a:ext cx="3429000" cy="365760"/>
          </a:xfrm>
          <a:prstGeom prst="rect">
            <a:avLst/>
          </a:prstGeom>
        </p:spPr>
        <p:txBody>
          <a:bodyPr anchor="ctr">
            <a:noAutofit/>
          </a:bodyPr>
          <a:lstStyle>
            <a:lvl1pPr marL="0" indent="0">
              <a:buNone/>
              <a:defRPr sz="1400" b="1">
                <a:solidFill>
                  <a:schemeClr val="tx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15" name="Slide Number Placeholder 5">
            <a:extLst>
              <a:ext uri="{FF2B5EF4-FFF2-40B4-BE49-F238E27FC236}">
                <a16:creationId xmlns:a16="http://schemas.microsoft.com/office/drawing/2014/main" id="{287513A7-014F-DA43-9B2E-3C156459FAC2}"/>
              </a:ext>
            </a:extLst>
          </p:cNvPr>
          <p:cNvSpPr>
            <a:spLocks noGrp="1"/>
          </p:cNvSpPr>
          <p:nvPr>
            <p:ph type="sldNum" sz="quarter" idx="4"/>
          </p:nvPr>
        </p:nvSpPr>
        <p:spPr>
          <a:xfrm>
            <a:off x="10972800" y="6356350"/>
            <a:ext cx="609600" cy="365125"/>
          </a:xfrm>
          <a:prstGeom prst="rect">
            <a:avLst/>
          </a:prstGeom>
        </p:spPr>
        <p:txBody>
          <a:bodyPr anchor="ctr"/>
          <a:lstStyle>
            <a:lvl1pPr algn="ctr">
              <a:defRPr sz="1000" b="1">
                <a:solidFill>
                  <a:schemeClr val="tx1">
                    <a:lumMod val="40000"/>
                    <a:lumOff val="60000"/>
                  </a:schemeClr>
                </a:solidFill>
              </a:defRPr>
            </a:lvl1pPr>
          </a:lstStyle>
          <a:p>
            <a:fld id="{E1123682-AE52-6D45-865E-F1EB3AE0E340}" type="slidenum">
              <a:rPr lang="en-US" smtClean="0"/>
              <a:pPr/>
              <a:t>‹#›</a:t>
            </a:fld>
            <a:endParaRPr lang="en-US" dirty="0"/>
          </a:p>
        </p:txBody>
      </p:sp>
      <p:sp>
        <p:nvSpPr>
          <p:cNvPr id="4" name="Text Placeholder 3">
            <a:extLst>
              <a:ext uri="{FF2B5EF4-FFF2-40B4-BE49-F238E27FC236}">
                <a16:creationId xmlns:a16="http://schemas.microsoft.com/office/drawing/2014/main" id="{51B8C4CA-B63B-EF42-9A27-C89C8B59CC3F}"/>
              </a:ext>
            </a:extLst>
          </p:cNvPr>
          <p:cNvSpPr>
            <a:spLocks noGrp="1"/>
          </p:cNvSpPr>
          <p:nvPr>
            <p:ph type="body" sz="quarter" idx="14" hasCustomPrompt="1"/>
          </p:nvPr>
        </p:nvSpPr>
        <p:spPr>
          <a:xfrm>
            <a:off x="609600" y="1036326"/>
            <a:ext cx="10972800" cy="306880"/>
          </a:xfrm>
          <a:prstGeom prst="rect">
            <a:avLst/>
          </a:prstGeom>
        </p:spPr>
        <p:txBody>
          <a:bodyPr anchor="ctr">
            <a:noAutofit/>
          </a:bodyPr>
          <a:lstStyle>
            <a:lvl1pPr marL="0" indent="0">
              <a:buNone/>
              <a:defRPr lang="en-US" sz="1800" b="1" i="1" smtClean="0">
                <a:solidFill>
                  <a:schemeClr val="bg2"/>
                </a:solidFill>
                <a:ea typeface="+mj-ea"/>
                <a:cs typeface="+mj-cs"/>
              </a:defRPr>
            </a:lvl1pPr>
            <a:lvl2pPr>
              <a:defRPr lang="en-US" smtClean="0"/>
            </a:lvl2pPr>
            <a:lvl3pPr>
              <a:defRPr lang="en-US" smtClean="0"/>
            </a:lvl3pPr>
            <a:lvl4pPr>
              <a:defRPr lang="en-US" smtClean="0"/>
            </a:lvl4pPr>
            <a:lvl5pPr>
              <a:defRPr lang="en-US"/>
            </a:lvl5pPr>
          </a:lstStyle>
          <a:p>
            <a:pPr marL="228600" lvl="0" indent="-228600">
              <a:spcBef>
                <a:spcPct val="0"/>
              </a:spcBef>
            </a:pPr>
            <a:r>
              <a:rPr lang="en-US" dirty="0"/>
              <a:t>Title/Role in Italics</a:t>
            </a:r>
          </a:p>
        </p:txBody>
      </p:sp>
      <p:sp>
        <p:nvSpPr>
          <p:cNvPr id="11" name="Picture Placeholder 2">
            <a:extLst>
              <a:ext uri="{FF2B5EF4-FFF2-40B4-BE49-F238E27FC236}">
                <a16:creationId xmlns:a16="http://schemas.microsoft.com/office/drawing/2014/main" id="{E079250E-7927-324E-BDA1-8879404DFC52}"/>
              </a:ext>
            </a:extLst>
          </p:cNvPr>
          <p:cNvSpPr>
            <a:spLocks noGrp="1"/>
          </p:cNvSpPr>
          <p:nvPr>
            <p:ph type="pic" sz="quarter" idx="11"/>
          </p:nvPr>
        </p:nvSpPr>
        <p:spPr>
          <a:xfrm>
            <a:off x="727075" y="1612829"/>
            <a:ext cx="1597025" cy="1597025"/>
          </a:xfrm>
          <a:prstGeom prst="rect">
            <a:avLst/>
          </a:prstGeom>
        </p:spPr>
        <p:txBody>
          <a:bodyPr/>
          <a:lstStyle>
            <a:lvl1pPr marL="0" indent="0">
              <a:buNone/>
              <a:defRPr/>
            </a:lvl1pPr>
          </a:lstStyle>
          <a:p>
            <a:r>
              <a:rPr lang="en-US"/>
              <a:t>Click icon to add picture</a:t>
            </a:r>
          </a:p>
        </p:txBody>
      </p:sp>
      <p:sp>
        <p:nvSpPr>
          <p:cNvPr id="17" name="Content Placeholder 2">
            <a:extLst>
              <a:ext uri="{FF2B5EF4-FFF2-40B4-BE49-F238E27FC236}">
                <a16:creationId xmlns:a16="http://schemas.microsoft.com/office/drawing/2014/main" id="{677323EB-F547-8240-B879-E0C7FA4F0812}"/>
              </a:ext>
            </a:extLst>
          </p:cNvPr>
          <p:cNvSpPr>
            <a:spLocks noGrp="1"/>
          </p:cNvSpPr>
          <p:nvPr>
            <p:ph idx="16" hasCustomPrompt="1"/>
          </p:nvPr>
        </p:nvSpPr>
        <p:spPr>
          <a:xfrm>
            <a:off x="2560320" y="1609337"/>
            <a:ext cx="6079681" cy="4575390"/>
          </a:xfrm>
          <a:prstGeom prst="rect">
            <a:avLst/>
          </a:prstGeom>
        </p:spPr>
        <p:txBody>
          <a:bodyPr>
            <a:noAutofit/>
          </a:bodyPr>
          <a:lstStyle>
            <a:lvl1pPr marL="0" indent="0">
              <a:lnSpc>
                <a:spcPct val="100000"/>
              </a:lnSpc>
              <a:spcBef>
                <a:spcPts val="0"/>
              </a:spcBef>
              <a:spcAft>
                <a:spcPts val="400"/>
              </a:spcAft>
              <a:buNone/>
              <a:defRPr sz="1200"/>
            </a:lvl1pPr>
            <a:lvl2pPr>
              <a:defRPr sz="1600"/>
            </a:lvl2pPr>
            <a:lvl3pPr>
              <a:defRPr sz="1600"/>
            </a:lvl3pPr>
            <a:lvl4pPr>
              <a:defRPr sz="1600"/>
            </a:lvl4pPr>
            <a:lvl5pPr>
              <a:defRPr sz="1600"/>
            </a:lvl5pPr>
          </a:lstStyle>
          <a:p>
            <a:pPr lvl="0"/>
            <a:r>
              <a:rPr lang="en-US" dirty="0"/>
              <a:t>Insert business expertise and relevant information.</a:t>
            </a:r>
          </a:p>
        </p:txBody>
      </p:sp>
      <p:sp>
        <p:nvSpPr>
          <p:cNvPr id="6" name="Rectangle 5">
            <a:extLst>
              <a:ext uri="{FF2B5EF4-FFF2-40B4-BE49-F238E27FC236}">
                <a16:creationId xmlns:a16="http://schemas.microsoft.com/office/drawing/2014/main" id="{7DEFFA10-A88C-AD4B-B8BF-95B69EC21838}"/>
              </a:ext>
            </a:extLst>
          </p:cNvPr>
          <p:cNvSpPr/>
          <p:nvPr userDrawn="1"/>
        </p:nvSpPr>
        <p:spPr>
          <a:xfrm>
            <a:off x="8965120" y="1612828"/>
            <a:ext cx="2617279" cy="2312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INDUSTRIES SERVED</a:t>
            </a:r>
          </a:p>
        </p:txBody>
      </p:sp>
      <p:sp>
        <p:nvSpPr>
          <p:cNvPr id="20" name="Content Placeholder 2">
            <a:extLst>
              <a:ext uri="{FF2B5EF4-FFF2-40B4-BE49-F238E27FC236}">
                <a16:creationId xmlns:a16="http://schemas.microsoft.com/office/drawing/2014/main" id="{444E14DB-E59C-CF46-89A9-138D281EE65C}"/>
              </a:ext>
            </a:extLst>
          </p:cNvPr>
          <p:cNvSpPr>
            <a:spLocks noGrp="1"/>
          </p:cNvSpPr>
          <p:nvPr>
            <p:ph idx="18"/>
          </p:nvPr>
        </p:nvSpPr>
        <p:spPr>
          <a:xfrm>
            <a:off x="8958961" y="1844109"/>
            <a:ext cx="2617279" cy="1723767"/>
          </a:xfrm>
          <a:prstGeom prst="rect">
            <a:avLst/>
          </a:prstGeom>
        </p:spPr>
        <p:txBody>
          <a:bodyPr>
            <a:noAutofit/>
          </a:bodyPr>
          <a:lstStyle>
            <a:lvl1pPr>
              <a:lnSpc>
                <a:spcPct val="100000"/>
              </a:lnSpc>
              <a:spcBef>
                <a:spcPts val="0"/>
              </a:spcBef>
              <a:spcAft>
                <a:spcPts val="400"/>
              </a:spcAft>
              <a:defRPr sz="1200"/>
            </a:lvl1pPr>
            <a:lvl2pPr>
              <a:defRPr sz="1600"/>
            </a:lvl2pPr>
            <a:lvl3pPr>
              <a:defRPr sz="1600"/>
            </a:lvl3pPr>
            <a:lvl4pPr>
              <a:defRPr sz="1600"/>
            </a:lvl4pPr>
            <a:lvl5pPr>
              <a:defRPr sz="1600"/>
            </a:lvl5pPr>
          </a:lstStyle>
          <a:p>
            <a:pPr lvl="0"/>
            <a:r>
              <a:rPr lang="en-US"/>
              <a:t>Click to edit Master text styles</a:t>
            </a:r>
          </a:p>
        </p:txBody>
      </p:sp>
      <p:sp>
        <p:nvSpPr>
          <p:cNvPr id="21" name="Rectangle 20">
            <a:extLst>
              <a:ext uri="{FF2B5EF4-FFF2-40B4-BE49-F238E27FC236}">
                <a16:creationId xmlns:a16="http://schemas.microsoft.com/office/drawing/2014/main" id="{BF783A96-1750-A541-9903-B1719B0299D0}"/>
              </a:ext>
            </a:extLst>
          </p:cNvPr>
          <p:cNvSpPr/>
          <p:nvPr userDrawn="1"/>
        </p:nvSpPr>
        <p:spPr>
          <a:xfrm>
            <a:off x="8965120" y="3747974"/>
            <a:ext cx="2617279" cy="2312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SKILLS &amp; SPECIALTIES</a:t>
            </a:r>
          </a:p>
        </p:txBody>
      </p:sp>
      <p:sp>
        <p:nvSpPr>
          <p:cNvPr id="22" name="Content Placeholder 2">
            <a:extLst>
              <a:ext uri="{FF2B5EF4-FFF2-40B4-BE49-F238E27FC236}">
                <a16:creationId xmlns:a16="http://schemas.microsoft.com/office/drawing/2014/main" id="{F8B2CBAE-529C-4E49-B729-C09D2D9BCD76}"/>
              </a:ext>
            </a:extLst>
          </p:cNvPr>
          <p:cNvSpPr>
            <a:spLocks noGrp="1"/>
          </p:cNvSpPr>
          <p:nvPr>
            <p:ph idx="19"/>
          </p:nvPr>
        </p:nvSpPr>
        <p:spPr>
          <a:xfrm>
            <a:off x="8958961" y="3979238"/>
            <a:ext cx="2617279" cy="2197724"/>
          </a:xfrm>
          <a:prstGeom prst="rect">
            <a:avLst/>
          </a:prstGeom>
        </p:spPr>
        <p:txBody>
          <a:bodyPr>
            <a:noAutofit/>
          </a:bodyPr>
          <a:lstStyle>
            <a:lvl1pPr>
              <a:lnSpc>
                <a:spcPct val="100000"/>
              </a:lnSpc>
              <a:spcBef>
                <a:spcPts val="0"/>
              </a:spcBef>
              <a:spcAft>
                <a:spcPts val="400"/>
              </a:spcAft>
              <a:defRPr sz="1200"/>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1129749339"/>
      </p:ext>
    </p:extLst>
  </p:cSld>
  <p:clrMapOvr>
    <a:masterClrMapping/>
  </p:clrMapOvr>
  <p:extLst>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3C66E3-29A9-874C-B80D-C4D9C846BBB6}" type="datetimeFigureOut">
              <a:rPr lang="en-US" smtClean="0"/>
              <a:t>9/15/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EFED167-E928-A943-AC2D-CDCABD0DB418}" type="slidenum">
              <a:rPr lang="en-US" smtClean="0"/>
              <a:t>‹#›</a:t>
            </a:fld>
            <a:endParaRPr lang="en-US"/>
          </a:p>
        </p:txBody>
      </p:sp>
    </p:spTree>
    <p:extLst>
      <p:ext uri="{BB962C8B-B14F-4D97-AF65-F5344CB8AC3E}">
        <p14:creationId xmlns:p14="http://schemas.microsoft.com/office/powerpoint/2010/main" val="16611576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3CBECB4A-6775-EF4A-A71C-0BE37A7FB13B}"/>
              </a:ext>
            </a:extLst>
          </p:cNvPr>
          <p:cNvSpPr>
            <a:spLocks noGrp="1"/>
          </p:cNvSpPr>
          <p:nvPr>
            <p:ph type="sldNum" sz="quarter" idx="4"/>
          </p:nvPr>
        </p:nvSpPr>
        <p:spPr>
          <a:xfrm>
            <a:off x="10972800" y="6356350"/>
            <a:ext cx="609600" cy="365125"/>
          </a:xfrm>
          <a:prstGeom prst="rect">
            <a:avLst/>
          </a:prstGeom>
        </p:spPr>
        <p:txBody>
          <a:bodyPr anchor="ctr"/>
          <a:lstStyle>
            <a:lvl1pPr algn="ctr">
              <a:defRPr sz="1000" b="1">
                <a:solidFill>
                  <a:schemeClr val="tx1">
                    <a:lumMod val="60000"/>
                    <a:lumOff val="40000"/>
                  </a:schemeClr>
                </a:solidFill>
              </a:defRPr>
            </a:lvl1pPr>
          </a:lstStyle>
          <a:p>
            <a:fld id="{E1123682-AE52-6D45-865E-F1EB3AE0E340}" type="slidenum">
              <a:rPr lang="en-US" smtClean="0"/>
              <a:pPr/>
              <a:t>‹#›</a:t>
            </a:fld>
            <a:endParaRPr lang="en-US" dirty="0"/>
          </a:p>
        </p:txBody>
      </p:sp>
      <p:sp>
        <p:nvSpPr>
          <p:cNvPr id="8" name="Rectangle 7">
            <a:extLst>
              <a:ext uri="{FF2B5EF4-FFF2-40B4-BE49-F238E27FC236}">
                <a16:creationId xmlns:a16="http://schemas.microsoft.com/office/drawing/2014/main" id="{2B7B8EF2-7DC8-AF41-904A-7557E1D0C798}"/>
              </a:ext>
            </a:extLst>
          </p:cNvPr>
          <p:cNvSpPr/>
          <p:nvPr userDrawn="1"/>
        </p:nvSpPr>
        <p:spPr>
          <a:xfrm>
            <a:off x="5243979" y="6385561"/>
            <a:ext cx="5601821" cy="306702"/>
          </a:xfrm>
          <a:prstGeom prst="rect">
            <a:avLst/>
          </a:prstGeom>
        </p:spPr>
        <p:txBody>
          <a:bodyPr vert="horz" lIns="78396" tIns="39199" rIns="78396" bIns="39199" rtlCol="0" anchor="ctr"/>
          <a:lstStyle/>
          <a:p>
            <a:pPr lvl="0" algn="r"/>
            <a:r>
              <a:rPr lang="en-US" sz="700" dirty="0">
                <a:solidFill>
                  <a:schemeClr val="tx1">
                    <a:lumMod val="60000"/>
                    <a:lumOff val="40000"/>
                  </a:schemeClr>
                </a:solidFill>
              </a:rPr>
              <a:t>© 2021</a:t>
            </a:r>
            <a:r>
              <a:rPr lang="en-US" sz="700" baseline="0" dirty="0">
                <a:solidFill>
                  <a:schemeClr val="tx1">
                    <a:lumMod val="60000"/>
                    <a:lumOff val="40000"/>
                  </a:schemeClr>
                </a:solidFill>
              </a:rPr>
              <a:t> </a:t>
            </a:r>
            <a:r>
              <a:rPr lang="en-US" sz="700" dirty="0">
                <a:solidFill>
                  <a:schemeClr val="tx1">
                    <a:lumMod val="60000"/>
                    <a:lumOff val="40000"/>
                  </a:schemeClr>
                </a:solidFill>
              </a:rPr>
              <a:t>West Monroe Partners |</a:t>
            </a:r>
            <a:r>
              <a:rPr lang="en-US" sz="700" baseline="0" dirty="0">
                <a:solidFill>
                  <a:schemeClr val="tx1">
                    <a:lumMod val="60000"/>
                    <a:lumOff val="40000"/>
                  </a:schemeClr>
                </a:solidFill>
              </a:rPr>
              <a:t> </a:t>
            </a:r>
            <a:r>
              <a:rPr lang="en-US" sz="700" dirty="0">
                <a:solidFill>
                  <a:schemeClr val="tx1">
                    <a:lumMod val="60000"/>
                    <a:lumOff val="40000"/>
                  </a:schemeClr>
                </a:solidFill>
              </a:rPr>
              <a:t>Reproduction and distribution without West Monroe Partners prior consent is prohibited.</a:t>
            </a:r>
          </a:p>
        </p:txBody>
      </p:sp>
      <p:pic>
        <p:nvPicPr>
          <p:cNvPr id="9" name="Picture 8" descr="A picture containing drawing&#10;&#10;Description automatically generated">
            <a:extLst>
              <a:ext uri="{FF2B5EF4-FFF2-40B4-BE49-F238E27FC236}">
                <a16:creationId xmlns:a16="http://schemas.microsoft.com/office/drawing/2014/main" id="{11E5ACBC-EA69-1045-9562-52AC1F7B6FEA}"/>
              </a:ext>
            </a:extLst>
          </p:cNvPr>
          <p:cNvPicPr>
            <a:picLocks noChangeAspect="1"/>
          </p:cNvPicPr>
          <p:nvPr userDrawn="1"/>
        </p:nvPicPr>
        <p:blipFill>
          <a:blip r:embed="rId11"/>
          <a:stretch>
            <a:fillRect/>
          </a:stretch>
        </p:blipFill>
        <p:spPr>
          <a:xfrm>
            <a:off x="609600" y="6399501"/>
            <a:ext cx="1600200" cy="278823"/>
          </a:xfrm>
          <a:prstGeom prst="rect">
            <a:avLst/>
          </a:prstGeom>
        </p:spPr>
      </p:pic>
      <p:cxnSp>
        <p:nvCxnSpPr>
          <p:cNvPr id="10" name="Straight Connector 9">
            <a:extLst>
              <a:ext uri="{FF2B5EF4-FFF2-40B4-BE49-F238E27FC236}">
                <a16:creationId xmlns:a16="http://schemas.microsoft.com/office/drawing/2014/main" id="{89ADE018-A777-5F4C-A2EC-D4EC6B9A30B7}"/>
              </a:ext>
            </a:extLst>
          </p:cNvPr>
          <p:cNvCxnSpPr/>
          <p:nvPr userDrawn="1"/>
        </p:nvCxnSpPr>
        <p:spPr>
          <a:xfrm>
            <a:off x="10972800" y="6401752"/>
            <a:ext cx="0" cy="274320"/>
          </a:xfrm>
          <a:prstGeom prst="line">
            <a:avLst/>
          </a:prstGeom>
          <a:ln w="9525">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716695"/>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82" r:id="rId7"/>
    <p:sldLayoutId id="2147483683" r:id="rId8"/>
    <p:sldLayoutId id="2147483684" r:id="rId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3" Type="http://schemas.openxmlformats.org/officeDocument/2006/relationships/image" Target="../media/image13.png"/><Relationship Id="rId18" Type="http://schemas.openxmlformats.org/officeDocument/2006/relationships/image" Target="../media/image18.png"/><Relationship Id="rId26" Type="http://schemas.openxmlformats.org/officeDocument/2006/relationships/image" Target="../media/image26.png"/><Relationship Id="rId39" Type="http://schemas.openxmlformats.org/officeDocument/2006/relationships/hyperlink" Target="https://www.set-works.com/" TargetMode="External"/><Relationship Id="rId21" Type="http://schemas.openxmlformats.org/officeDocument/2006/relationships/image" Target="../media/image21.png"/><Relationship Id="rId34" Type="http://schemas.openxmlformats.org/officeDocument/2006/relationships/image" Target="../media/image34.png"/><Relationship Id="rId7" Type="http://schemas.openxmlformats.org/officeDocument/2006/relationships/image" Target="../media/image7.png"/><Relationship Id="rId12" Type="http://schemas.openxmlformats.org/officeDocument/2006/relationships/image" Target="../media/image12.png"/><Relationship Id="rId17" Type="http://schemas.openxmlformats.org/officeDocument/2006/relationships/image" Target="../media/image17.png"/><Relationship Id="rId25" Type="http://schemas.openxmlformats.org/officeDocument/2006/relationships/image" Target="../media/image25.png"/><Relationship Id="rId33" Type="http://schemas.openxmlformats.org/officeDocument/2006/relationships/image" Target="../media/image33.png"/><Relationship Id="rId38" Type="http://schemas.openxmlformats.org/officeDocument/2006/relationships/image" Target="../media/image38.png"/><Relationship Id="rId2" Type="http://schemas.openxmlformats.org/officeDocument/2006/relationships/notesSlide" Target="../notesSlides/notesSlide2.xml"/><Relationship Id="rId16" Type="http://schemas.openxmlformats.org/officeDocument/2006/relationships/image" Target="../media/image16.jpeg"/><Relationship Id="rId20" Type="http://schemas.openxmlformats.org/officeDocument/2006/relationships/image" Target="../media/image20.png"/><Relationship Id="rId29" Type="http://schemas.openxmlformats.org/officeDocument/2006/relationships/image" Target="../media/image29.png"/><Relationship Id="rId1" Type="http://schemas.openxmlformats.org/officeDocument/2006/relationships/slideLayout" Target="../slideLayouts/slideLayout9.xml"/><Relationship Id="rId6" Type="http://schemas.openxmlformats.org/officeDocument/2006/relationships/image" Target="../media/image6.emf"/><Relationship Id="rId11" Type="http://schemas.openxmlformats.org/officeDocument/2006/relationships/image" Target="../media/image11.png"/><Relationship Id="rId24" Type="http://schemas.openxmlformats.org/officeDocument/2006/relationships/image" Target="../media/image24.png"/><Relationship Id="rId32" Type="http://schemas.openxmlformats.org/officeDocument/2006/relationships/image" Target="../media/image32.png"/><Relationship Id="rId37" Type="http://schemas.openxmlformats.org/officeDocument/2006/relationships/image" Target="../media/image37.jpg"/><Relationship Id="rId40" Type="http://schemas.openxmlformats.org/officeDocument/2006/relationships/image" Target="../media/image39.png"/><Relationship Id="rId5" Type="http://schemas.openxmlformats.org/officeDocument/2006/relationships/image" Target="../media/image5.jpeg"/><Relationship Id="rId15" Type="http://schemas.openxmlformats.org/officeDocument/2006/relationships/image" Target="../media/image15.jpeg"/><Relationship Id="rId23" Type="http://schemas.openxmlformats.org/officeDocument/2006/relationships/image" Target="../media/image23.png"/><Relationship Id="rId28" Type="http://schemas.openxmlformats.org/officeDocument/2006/relationships/image" Target="../media/image28.png"/><Relationship Id="rId36" Type="http://schemas.openxmlformats.org/officeDocument/2006/relationships/image" Target="../media/image36.png"/><Relationship Id="rId10" Type="http://schemas.openxmlformats.org/officeDocument/2006/relationships/image" Target="../media/image10.png"/><Relationship Id="rId19" Type="http://schemas.openxmlformats.org/officeDocument/2006/relationships/image" Target="../media/image19.png"/><Relationship Id="rId31" Type="http://schemas.openxmlformats.org/officeDocument/2006/relationships/image" Target="../media/image31.png"/><Relationship Id="rId4" Type="http://schemas.openxmlformats.org/officeDocument/2006/relationships/image" Target="../media/image4.emf"/><Relationship Id="rId9" Type="http://schemas.openxmlformats.org/officeDocument/2006/relationships/image" Target="../media/image9.png"/><Relationship Id="rId14" Type="http://schemas.openxmlformats.org/officeDocument/2006/relationships/image" Target="../media/image14.png"/><Relationship Id="rId22" Type="http://schemas.openxmlformats.org/officeDocument/2006/relationships/image" Target="../media/image22.svg"/><Relationship Id="rId27" Type="http://schemas.openxmlformats.org/officeDocument/2006/relationships/image" Target="../media/image27.png"/><Relationship Id="rId30" Type="http://schemas.openxmlformats.org/officeDocument/2006/relationships/image" Target="../media/image30.png"/><Relationship Id="rId35" Type="http://schemas.openxmlformats.org/officeDocument/2006/relationships/image" Target="../media/image35.png"/><Relationship Id="rId8" Type="http://schemas.openxmlformats.org/officeDocument/2006/relationships/image" Target="../media/image8.png"/><Relationship Id="rId3"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2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2.xml"/><Relationship Id="rId4" Type="http://schemas.openxmlformats.org/officeDocument/2006/relationships/image" Target="../media/image58.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slideLayout" Target="../slideLayouts/slideLayout5.xml"/><Relationship Id="rId1" Type="http://schemas.openxmlformats.org/officeDocument/2006/relationships/tags" Target="../tags/tag1.xml"/><Relationship Id="rId4" Type="http://schemas.openxmlformats.org/officeDocument/2006/relationships/image" Target="../media/image41.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hyperlink" Target="https://www.linkedin.com/in/danielmallott" TargetMode="External"/><Relationship Id="rId4" Type="http://schemas.openxmlformats.org/officeDocument/2006/relationships/hyperlink" Target="https://github.com/danielmallott" TargetMode="Externa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image" Target="../media/image44.png"/><Relationship Id="rId5" Type="http://schemas.openxmlformats.org/officeDocument/2006/relationships/tags" Target="../tags/tag7.xml"/><Relationship Id="rId10" Type="http://schemas.openxmlformats.org/officeDocument/2006/relationships/slideLayout" Target="../slideLayouts/slideLayout3.xml"/><Relationship Id="rId4" Type="http://schemas.openxmlformats.org/officeDocument/2006/relationships/tags" Target="../tags/tag6.xml"/><Relationship Id="rId9" Type="http://schemas.openxmlformats.org/officeDocument/2006/relationships/tags" Target="../tags/tag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Entity Framework (Core) Unchained</a:t>
            </a:r>
          </a:p>
        </p:txBody>
      </p:sp>
      <p:sp>
        <p:nvSpPr>
          <p:cNvPr id="3" name="Subtitle 2"/>
          <p:cNvSpPr>
            <a:spLocks noGrp="1"/>
          </p:cNvSpPr>
          <p:nvPr>
            <p:ph type="subTitle" idx="1"/>
          </p:nvPr>
        </p:nvSpPr>
        <p:spPr/>
        <p:txBody>
          <a:bodyPr/>
          <a:lstStyle/>
          <a:p>
            <a:r>
              <a:rPr lang="en-US" dirty="0"/>
              <a:t>Getting the Best Performance from Your ORM</a:t>
            </a:r>
          </a:p>
          <a:p>
            <a:endParaRPr lang="en-US" dirty="0"/>
          </a:p>
          <a:p>
            <a:r>
              <a:rPr lang="en-US" dirty="0"/>
              <a:t>Dan </a:t>
            </a:r>
            <a:r>
              <a:rPr lang="en-US" dirty="0" err="1"/>
              <a:t>Mallott</a:t>
            </a:r>
            <a:endParaRPr lang="en-US" dirty="0"/>
          </a:p>
        </p:txBody>
      </p:sp>
    </p:spTree>
    <p:extLst>
      <p:ext uri="{BB962C8B-B14F-4D97-AF65-F5344CB8AC3E}">
        <p14:creationId xmlns:p14="http://schemas.microsoft.com/office/powerpoint/2010/main" val="8117876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F7EC0-F5B5-5B41-8DF8-29246F8D28FF}"/>
              </a:ext>
            </a:extLst>
          </p:cNvPr>
          <p:cNvSpPr>
            <a:spLocks noGrp="1"/>
          </p:cNvSpPr>
          <p:nvPr>
            <p:ph type="title"/>
          </p:nvPr>
        </p:nvSpPr>
        <p:spPr/>
        <p:txBody>
          <a:bodyPr/>
          <a:lstStyle/>
          <a:p>
            <a:r>
              <a:rPr lang="en-US" sz="4400" dirty="0"/>
              <a:t>A Little Bigger For Those In the Back</a:t>
            </a:r>
          </a:p>
        </p:txBody>
      </p:sp>
      <p:sp>
        <p:nvSpPr>
          <p:cNvPr id="3" name="Text Placeholder 2">
            <a:extLst>
              <a:ext uri="{FF2B5EF4-FFF2-40B4-BE49-F238E27FC236}">
                <a16:creationId xmlns:a16="http://schemas.microsoft.com/office/drawing/2014/main" id="{D62AE12E-610C-2442-B513-79C516CC0FE3}"/>
              </a:ext>
            </a:extLst>
          </p:cNvPr>
          <p:cNvSpPr>
            <a:spLocks noGrp="1"/>
          </p:cNvSpPr>
          <p:nvPr>
            <p:ph type="body" sz="quarter" idx="13"/>
          </p:nvPr>
        </p:nvSpPr>
        <p:spPr/>
        <p:txBody>
          <a:bodyPr/>
          <a:lstStyle/>
          <a:p>
            <a:r>
              <a:rPr lang="en-US" dirty="0"/>
              <a:t>CONFIGURATION</a:t>
            </a:r>
          </a:p>
        </p:txBody>
      </p:sp>
      <p:sp>
        <p:nvSpPr>
          <p:cNvPr id="4" name="Slide Number Placeholder 3">
            <a:extLst>
              <a:ext uri="{FF2B5EF4-FFF2-40B4-BE49-F238E27FC236}">
                <a16:creationId xmlns:a16="http://schemas.microsoft.com/office/drawing/2014/main" id="{DE8364B9-4361-664A-9E07-728F3C3EEF94}"/>
              </a:ext>
            </a:extLst>
          </p:cNvPr>
          <p:cNvSpPr>
            <a:spLocks noGrp="1"/>
          </p:cNvSpPr>
          <p:nvPr>
            <p:ph type="sldNum" sz="quarter" idx="4"/>
          </p:nvPr>
        </p:nvSpPr>
        <p:spPr/>
        <p:txBody>
          <a:bodyPr/>
          <a:lstStyle/>
          <a:p>
            <a:fld id="{E1123682-AE52-6D45-865E-F1EB3AE0E340}" type="slidenum">
              <a:rPr lang="en-US" smtClean="0"/>
              <a:pPr/>
              <a:t>10</a:t>
            </a:fld>
            <a:endParaRPr lang="en-US" dirty="0"/>
          </a:p>
        </p:txBody>
      </p:sp>
      <p:pic>
        <p:nvPicPr>
          <p:cNvPr id="6" name="Picture 5">
            <a:extLst>
              <a:ext uri="{FF2B5EF4-FFF2-40B4-BE49-F238E27FC236}">
                <a16:creationId xmlns:a16="http://schemas.microsoft.com/office/drawing/2014/main" id="{AD682A1A-E4F3-F147-99C6-4878A9F1C43D}"/>
              </a:ext>
            </a:extLst>
          </p:cNvPr>
          <p:cNvPicPr>
            <a:picLocks noChangeAspect="1"/>
          </p:cNvPicPr>
          <p:nvPr/>
        </p:nvPicPr>
        <p:blipFill>
          <a:blip r:embed="rId2"/>
          <a:stretch>
            <a:fillRect/>
          </a:stretch>
        </p:blipFill>
        <p:spPr>
          <a:xfrm>
            <a:off x="609600" y="1946419"/>
            <a:ext cx="10964359" cy="3647758"/>
          </a:xfrm>
          <a:prstGeom prst="rect">
            <a:avLst/>
          </a:prstGeom>
        </p:spPr>
      </p:pic>
    </p:spTree>
    <p:extLst>
      <p:ext uri="{BB962C8B-B14F-4D97-AF65-F5344CB8AC3E}">
        <p14:creationId xmlns:p14="http://schemas.microsoft.com/office/powerpoint/2010/main" val="29979073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BA50CED-16EF-4C45-9B1A-D36AB7D39B55}"/>
              </a:ext>
            </a:extLst>
          </p:cNvPr>
          <p:cNvSpPr>
            <a:spLocks noGrp="1"/>
          </p:cNvSpPr>
          <p:nvPr>
            <p:ph type="body" sz="quarter" idx="10"/>
          </p:nvPr>
        </p:nvSpPr>
        <p:spPr/>
        <p:txBody>
          <a:bodyPr/>
          <a:lstStyle/>
          <a:p>
            <a:r>
              <a:rPr lang="en-US" dirty="0"/>
              <a:t>Access Patterns – Not All CRUD Is Created Equally</a:t>
            </a:r>
          </a:p>
        </p:txBody>
      </p:sp>
      <p:sp>
        <p:nvSpPr>
          <p:cNvPr id="4" name="Slide Number Placeholder 3">
            <a:extLst>
              <a:ext uri="{FF2B5EF4-FFF2-40B4-BE49-F238E27FC236}">
                <a16:creationId xmlns:a16="http://schemas.microsoft.com/office/drawing/2014/main" id="{8CF5921E-6793-1E49-B5C1-9E45EF0424C4}"/>
              </a:ext>
            </a:extLst>
          </p:cNvPr>
          <p:cNvSpPr>
            <a:spLocks noGrp="1"/>
          </p:cNvSpPr>
          <p:nvPr>
            <p:ph type="sldNum" sz="quarter" idx="4"/>
          </p:nvPr>
        </p:nvSpPr>
        <p:spPr/>
        <p:txBody>
          <a:bodyPr/>
          <a:lstStyle/>
          <a:p>
            <a:fld id="{E1123682-AE52-6D45-865E-F1EB3AE0E340}" type="slidenum">
              <a:rPr lang="en-US" smtClean="0"/>
              <a:pPr/>
              <a:t>11</a:t>
            </a:fld>
            <a:endParaRPr lang="en-US" dirty="0"/>
          </a:p>
        </p:txBody>
      </p:sp>
    </p:spTree>
    <p:extLst>
      <p:ext uri="{BB962C8B-B14F-4D97-AF65-F5344CB8AC3E}">
        <p14:creationId xmlns:p14="http://schemas.microsoft.com/office/powerpoint/2010/main" val="21537473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459FFB1-7F35-6F48-BD99-5BDAA7CB288E}"/>
              </a:ext>
            </a:extLst>
          </p:cNvPr>
          <p:cNvSpPr>
            <a:spLocks noGrp="1"/>
          </p:cNvSpPr>
          <p:nvPr>
            <p:ph type="title"/>
          </p:nvPr>
        </p:nvSpPr>
        <p:spPr/>
        <p:txBody>
          <a:bodyPr/>
          <a:lstStyle/>
          <a:p>
            <a:r>
              <a:rPr lang="en-US" sz="4400" dirty="0"/>
              <a:t>Inserting Records – Our First Headscratcher</a:t>
            </a:r>
          </a:p>
        </p:txBody>
      </p:sp>
      <p:sp>
        <p:nvSpPr>
          <p:cNvPr id="5" name="Content Placeholder 4">
            <a:extLst>
              <a:ext uri="{FF2B5EF4-FFF2-40B4-BE49-F238E27FC236}">
                <a16:creationId xmlns:a16="http://schemas.microsoft.com/office/drawing/2014/main" id="{8BF34900-AAD9-1149-B7F3-1F0DA05F0EFE}"/>
              </a:ext>
            </a:extLst>
          </p:cNvPr>
          <p:cNvSpPr>
            <a:spLocks noGrp="1"/>
          </p:cNvSpPr>
          <p:nvPr>
            <p:ph idx="1"/>
          </p:nvPr>
        </p:nvSpPr>
        <p:spPr/>
        <p:txBody>
          <a:bodyPr/>
          <a:lstStyle/>
          <a:p>
            <a:r>
              <a:rPr lang="en-US" sz="2800" dirty="0"/>
              <a:t>If we insert one record, we get one insert statement. Good!</a:t>
            </a:r>
          </a:p>
          <a:p>
            <a:endParaRPr lang="en-US" sz="2800" dirty="0"/>
          </a:p>
          <a:p>
            <a:endParaRPr lang="en-US" sz="2800" dirty="0"/>
          </a:p>
          <a:p>
            <a:endParaRPr lang="en-US" sz="2800" dirty="0"/>
          </a:p>
          <a:p>
            <a:r>
              <a:rPr lang="en-US" sz="2800" dirty="0"/>
              <a:t>If we insert more than one record…</a:t>
            </a:r>
          </a:p>
        </p:txBody>
      </p:sp>
      <p:sp>
        <p:nvSpPr>
          <p:cNvPr id="6" name="Text Placeholder 5">
            <a:extLst>
              <a:ext uri="{FF2B5EF4-FFF2-40B4-BE49-F238E27FC236}">
                <a16:creationId xmlns:a16="http://schemas.microsoft.com/office/drawing/2014/main" id="{8D30F82C-59A4-3F42-955F-28BE1EAC3C32}"/>
              </a:ext>
            </a:extLst>
          </p:cNvPr>
          <p:cNvSpPr>
            <a:spLocks noGrp="1"/>
          </p:cNvSpPr>
          <p:nvPr>
            <p:ph type="body" sz="quarter" idx="13"/>
          </p:nvPr>
        </p:nvSpPr>
        <p:spPr/>
        <p:txBody>
          <a:bodyPr/>
          <a:lstStyle/>
          <a:p>
            <a:r>
              <a:rPr lang="en-US" dirty="0"/>
              <a:t>ACCESS PATTERNS</a:t>
            </a:r>
          </a:p>
        </p:txBody>
      </p:sp>
      <p:sp>
        <p:nvSpPr>
          <p:cNvPr id="3" name="Slide Number Placeholder 2">
            <a:extLst>
              <a:ext uri="{FF2B5EF4-FFF2-40B4-BE49-F238E27FC236}">
                <a16:creationId xmlns:a16="http://schemas.microsoft.com/office/drawing/2014/main" id="{3E9E9C44-B204-3542-BD66-DB8D858006A6}"/>
              </a:ext>
            </a:extLst>
          </p:cNvPr>
          <p:cNvSpPr>
            <a:spLocks noGrp="1"/>
          </p:cNvSpPr>
          <p:nvPr>
            <p:ph type="sldNum" sz="quarter" idx="4"/>
          </p:nvPr>
        </p:nvSpPr>
        <p:spPr/>
        <p:txBody>
          <a:bodyPr/>
          <a:lstStyle/>
          <a:p>
            <a:fld id="{E1123682-AE52-6D45-865E-F1EB3AE0E340}" type="slidenum">
              <a:rPr lang="en-US" smtClean="0"/>
              <a:pPr/>
              <a:t>12</a:t>
            </a:fld>
            <a:endParaRPr lang="en-US" dirty="0"/>
          </a:p>
        </p:txBody>
      </p:sp>
      <p:pic>
        <p:nvPicPr>
          <p:cNvPr id="8" name="Picture 7" descr="A picture containing graphical user interface&#10;&#10;Description automatically generated">
            <a:extLst>
              <a:ext uri="{FF2B5EF4-FFF2-40B4-BE49-F238E27FC236}">
                <a16:creationId xmlns:a16="http://schemas.microsoft.com/office/drawing/2014/main" id="{57941780-C01A-B54A-BD0F-805226DB5A9D}"/>
              </a:ext>
            </a:extLst>
          </p:cNvPr>
          <p:cNvPicPr>
            <a:picLocks noChangeAspect="1"/>
          </p:cNvPicPr>
          <p:nvPr/>
        </p:nvPicPr>
        <p:blipFill>
          <a:blip r:embed="rId2"/>
          <a:stretch>
            <a:fillRect/>
          </a:stretch>
        </p:blipFill>
        <p:spPr>
          <a:xfrm>
            <a:off x="609600" y="1967954"/>
            <a:ext cx="11024257" cy="1461046"/>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10AD7256-B000-0D41-A806-9EDFEA33E7B3}"/>
              </a:ext>
            </a:extLst>
          </p:cNvPr>
          <p:cNvPicPr>
            <a:picLocks noChangeAspect="1"/>
          </p:cNvPicPr>
          <p:nvPr/>
        </p:nvPicPr>
        <p:blipFill>
          <a:blip r:embed="rId3"/>
          <a:stretch>
            <a:fillRect/>
          </a:stretch>
        </p:blipFill>
        <p:spPr>
          <a:xfrm>
            <a:off x="1631950" y="4010617"/>
            <a:ext cx="8928100" cy="2247900"/>
          </a:xfrm>
          <a:prstGeom prst="rect">
            <a:avLst/>
          </a:prstGeom>
        </p:spPr>
      </p:pic>
    </p:spTree>
    <p:extLst>
      <p:ext uri="{BB962C8B-B14F-4D97-AF65-F5344CB8AC3E}">
        <p14:creationId xmlns:p14="http://schemas.microsoft.com/office/powerpoint/2010/main" val="2569846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8E7684-AFEA-D14D-9390-D48BBB1B1B2B}"/>
              </a:ext>
            </a:extLst>
          </p:cNvPr>
          <p:cNvSpPr>
            <a:spLocks noGrp="1"/>
          </p:cNvSpPr>
          <p:nvPr>
            <p:ph type="title"/>
          </p:nvPr>
        </p:nvSpPr>
        <p:spPr/>
        <p:txBody>
          <a:bodyPr/>
          <a:lstStyle/>
          <a:p>
            <a:r>
              <a:rPr lang="en-US" sz="4400" dirty="0"/>
              <a:t>How Did This Happen?</a:t>
            </a:r>
          </a:p>
        </p:txBody>
      </p:sp>
      <p:sp>
        <p:nvSpPr>
          <p:cNvPr id="3" name="Content Placeholder 2">
            <a:extLst>
              <a:ext uri="{FF2B5EF4-FFF2-40B4-BE49-F238E27FC236}">
                <a16:creationId xmlns:a16="http://schemas.microsoft.com/office/drawing/2014/main" id="{0564F3B9-7DEF-C04C-870F-E1A2C46E0F0F}"/>
              </a:ext>
            </a:extLst>
          </p:cNvPr>
          <p:cNvSpPr>
            <a:spLocks noGrp="1"/>
          </p:cNvSpPr>
          <p:nvPr>
            <p:ph idx="1"/>
          </p:nvPr>
        </p:nvSpPr>
        <p:spPr/>
        <p:txBody>
          <a:bodyPr/>
          <a:lstStyle/>
          <a:p>
            <a:pPr marL="0" indent="0">
              <a:buNone/>
            </a:pPr>
            <a:r>
              <a:rPr lang="en-US" sz="2800" dirty="0"/>
              <a:t>How did these two lines…</a:t>
            </a:r>
          </a:p>
          <a:p>
            <a:pPr marL="0" indent="0">
              <a:buNone/>
            </a:pPr>
            <a:endParaRPr lang="en-US" sz="2800" dirty="0"/>
          </a:p>
          <a:p>
            <a:pPr marL="0" indent="0">
              <a:buNone/>
            </a:pPr>
            <a:endParaRPr lang="en-US" sz="2800" dirty="0"/>
          </a:p>
          <a:p>
            <a:pPr marL="0" indent="0">
              <a:buNone/>
            </a:pPr>
            <a:r>
              <a:rPr lang="en-US" sz="2800" dirty="0"/>
              <a:t>Become this monstrosity?</a:t>
            </a:r>
          </a:p>
        </p:txBody>
      </p:sp>
      <p:sp>
        <p:nvSpPr>
          <p:cNvPr id="4" name="Text Placeholder 3">
            <a:extLst>
              <a:ext uri="{FF2B5EF4-FFF2-40B4-BE49-F238E27FC236}">
                <a16:creationId xmlns:a16="http://schemas.microsoft.com/office/drawing/2014/main" id="{B0B4810A-0AD8-4342-AF20-7452ACADEDB8}"/>
              </a:ext>
            </a:extLst>
          </p:cNvPr>
          <p:cNvSpPr>
            <a:spLocks noGrp="1"/>
          </p:cNvSpPr>
          <p:nvPr>
            <p:ph type="body" sz="quarter" idx="13"/>
          </p:nvPr>
        </p:nvSpPr>
        <p:spPr/>
        <p:txBody>
          <a:bodyPr/>
          <a:lstStyle/>
          <a:p>
            <a:r>
              <a:rPr lang="en-US" dirty="0"/>
              <a:t>ACCESS PATTERNS</a:t>
            </a:r>
          </a:p>
        </p:txBody>
      </p:sp>
      <p:sp>
        <p:nvSpPr>
          <p:cNvPr id="5" name="Slide Number Placeholder 4">
            <a:extLst>
              <a:ext uri="{FF2B5EF4-FFF2-40B4-BE49-F238E27FC236}">
                <a16:creationId xmlns:a16="http://schemas.microsoft.com/office/drawing/2014/main" id="{0D623188-099E-704E-B776-C2759F99AC9A}"/>
              </a:ext>
            </a:extLst>
          </p:cNvPr>
          <p:cNvSpPr>
            <a:spLocks noGrp="1"/>
          </p:cNvSpPr>
          <p:nvPr>
            <p:ph type="sldNum" sz="quarter" idx="4"/>
          </p:nvPr>
        </p:nvSpPr>
        <p:spPr/>
        <p:txBody>
          <a:bodyPr/>
          <a:lstStyle/>
          <a:p>
            <a:fld id="{E1123682-AE52-6D45-865E-F1EB3AE0E340}" type="slidenum">
              <a:rPr lang="en-US" smtClean="0"/>
              <a:pPr/>
              <a:t>13</a:t>
            </a:fld>
            <a:endParaRPr lang="en-US" dirty="0"/>
          </a:p>
        </p:txBody>
      </p:sp>
      <p:pic>
        <p:nvPicPr>
          <p:cNvPr id="7" name="Picture 6" descr="Text&#10;&#10;Description automatically generated">
            <a:extLst>
              <a:ext uri="{FF2B5EF4-FFF2-40B4-BE49-F238E27FC236}">
                <a16:creationId xmlns:a16="http://schemas.microsoft.com/office/drawing/2014/main" id="{4AF2A01F-C851-324E-B001-66CCB3066153}"/>
              </a:ext>
            </a:extLst>
          </p:cNvPr>
          <p:cNvPicPr>
            <a:picLocks noChangeAspect="1"/>
          </p:cNvPicPr>
          <p:nvPr/>
        </p:nvPicPr>
        <p:blipFill>
          <a:blip r:embed="rId2"/>
          <a:stretch>
            <a:fillRect/>
          </a:stretch>
        </p:blipFill>
        <p:spPr>
          <a:xfrm>
            <a:off x="4038600" y="2215103"/>
            <a:ext cx="4114800" cy="558800"/>
          </a:xfrm>
          <a:prstGeom prst="rect">
            <a:avLst/>
          </a:prstGeom>
        </p:spPr>
      </p:pic>
      <p:pic>
        <p:nvPicPr>
          <p:cNvPr id="8" name="Picture 7">
            <a:extLst>
              <a:ext uri="{FF2B5EF4-FFF2-40B4-BE49-F238E27FC236}">
                <a16:creationId xmlns:a16="http://schemas.microsoft.com/office/drawing/2014/main" id="{41C7A7C8-EEE4-2249-A9D8-3D6509C83EF0}"/>
              </a:ext>
            </a:extLst>
          </p:cNvPr>
          <p:cNvPicPr>
            <a:picLocks noChangeAspect="1"/>
          </p:cNvPicPr>
          <p:nvPr/>
        </p:nvPicPr>
        <p:blipFill>
          <a:blip r:embed="rId3"/>
          <a:stretch>
            <a:fillRect/>
          </a:stretch>
        </p:blipFill>
        <p:spPr>
          <a:xfrm>
            <a:off x="649098" y="3563257"/>
            <a:ext cx="10933302" cy="2752766"/>
          </a:xfrm>
          <a:prstGeom prst="rect">
            <a:avLst/>
          </a:prstGeom>
        </p:spPr>
      </p:pic>
    </p:spTree>
    <p:extLst>
      <p:ext uri="{BB962C8B-B14F-4D97-AF65-F5344CB8AC3E}">
        <p14:creationId xmlns:p14="http://schemas.microsoft.com/office/powerpoint/2010/main" val="23235465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9AD2E-C7FF-7048-894D-31750FDD585A}"/>
              </a:ext>
            </a:extLst>
          </p:cNvPr>
          <p:cNvSpPr>
            <a:spLocks noGrp="1"/>
          </p:cNvSpPr>
          <p:nvPr>
            <p:ph type="title"/>
          </p:nvPr>
        </p:nvSpPr>
        <p:spPr/>
        <p:txBody>
          <a:bodyPr/>
          <a:lstStyle/>
          <a:p>
            <a:r>
              <a:rPr lang="en-US" sz="4400" dirty="0"/>
              <a:t>The Method to the Madness</a:t>
            </a:r>
          </a:p>
        </p:txBody>
      </p:sp>
      <p:sp>
        <p:nvSpPr>
          <p:cNvPr id="3" name="Content Placeholder 2">
            <a:extLst>
              <a:ext uri="{FF2B5EF4-FFF2-40B4-BE49-F238E27FC236}">
                <a16:creationId xmlns:a16="http://schemas.microsoft.com/office/drawing/2014/main" id="{04AE12BB-70B0-5B47-BD12-BA416A6B6AE4}"/>
              </a:ext>
            </a:extLst>
          </p:cNvPr>
          <p:cNvSpPr>
            <a:spLocks noGrp="1"/>
          </p:cNvSpPr>
          <p:nvPr>
            <p:ph idx="1"/>
          </p:nvPr>
        </p:nvSpPr>
        <p:spPr>
          <a:xfrm>
            <a:off x="609600" y="3577330"/>
            <a:ext cx="10972800" cy="1976505"/>
          </a:xfrm>
        </p:spPr>
        <p:txBody>
          <a:bodyPr/>
          <a:lstStyle/>
          <a:p>
            <a:r>
              <a:rPr lang="en-US" sz="2400" dirty="0"/>
              <a:t>This is not necessarily a bad choice. While the T-SQL Merge statement has issues (notably with deadlocks), it is more efficient than running single Insert statements</a:t>
            </a:r>
          </a:p>
          <a:p>
            <a:r>
              <a:rPr lang="en-US" sz="2400" dirty="0"/>
              <a:t>However, in your environment, it may make sense to force single Insert statements – particularly because EF Core uses the Merge statement when there are 3 or more entities to be inserted – by changing the Max Batch Size</a:t>
            </a:r>
          </a:p>
        </p:txBody>
      </p:sp>
      <p:sp>
        <p:nvSpPr>
          <p:cNvPr id="4" name="Text Placeholder 3">
            <a:extLst>
              <a:ext uri="{FF2B5EF4-FFF2-40B4-BE49-F238E27FC236}">
                <a16:creationId xmlns:a16="http://schemas.microsoft.com/office/drawing/2014/main" id="{222234BF-D682-2B4A-9FD9-C65B755D095F}"/>
              </a:ext>
            </a:extLst>
          </p:cNvPr>
          <p:cNvSpPr>
            <a:spLocks noGrp="1"/>
          </p:cNvSpPr>
          <p:nvPr>
            <p:ph type="body" sz="quarter" idx="13"/>
          </p:nvPr>
        </p:nvSpPr>
        <p:spPr/>
        <p:txBody>
          <a:bodyPr/>
          <a:lstStyle/>
          <a:p>
            <a:r>
              <a:rPr lang="en-US" dirty="0"/>
              <a:t>ACCESS PATTERNS</a:t>
            </a:r>
          </a:p>
        </p:txBody>
      </p:sp>
      <p:sp>
        <p:nvSpPr>
          <p:cNvPr id="5" name="Slide Number Placeholder 4">
            <a:extLst>
              <a:ext uri="{FF2B5EF4-FFF2-40B4-BE49-F238E27FC236}">
                <a16:creationId xmlns:a16="http://schemas.microsoft.com/office/drawing/2014/main" id="{0DC8CB8D-6C0E-DA40-9BE4-AC84698D3C5C}"/>
              </a:ext>
            </a:extLst>
          </p:cNvPr>
          <p:cNvSpPr>
            <a:spLocks noGrp="1"/>
          </p:cNvSpPr>
          <p:nvPr>
            <p:ph type="sldNum" sz="quarter" idx="4"/>
          </p:nvPr>
        </p:nvSpPr>
        <p:spPr/>
        <p:txBody>
          <a:bodyPr/>
          <a:lstStyle/>
          <a:p>
            <a:fld id="{E1123682-AE52-6D45-865E-F1EB3AE0E340}" type="slidenum">
              <a:rPr lang="en-US" smtClean="0"/>
              <a:pPr/>
              <a:t>14</a:t>
            </a:fld>
            <a:endParaRPr lang="en-US" dirty="0"/>
          </a:p>
        </p:txBody>
      </p:sp>
      <p:grpSp>
        <p:nvGrpSpPr>
          <p:cNvPr id="6" name="Group 5">
            <a:extLst>
              <a:ext uri="{FF2B5EF4-FFF2-40B4-BE49-F238E27FC236}">
                <a16:creationId xmlns:a16="http://schemas.microsoft.com/office/drawing/2014/main" id="{33672B80-8692-8D4F-83F4-5C977AB88DE6}"/>
              </a:ext>
            </a:extLst>
          </p:cNvPr>
          <p:cNvGrpSpPr/>
          <p:nvPr/>
        </p:nvGrpSpPr>
        <p:grpSpPr>
          <a:xfrm>
            <a:off x="609599" y="1597667"/>
            <a:ext cx="10972799" cy="1831333"/>
            <a:chOff x="2506128" y="2652744"/>
            <a:chExt cx="7021482" cy="1117891"/>
          </a:xfrm>
        </p:grpSpPr>
        <p:sp>
          <p:nvSpPr>
            <p:cNvPr id="7" name="Rectangle 6">
              <a:extLst>
                <a:ext uri="{FF2B5EF4-FFF2-40B4-BE49-F238E27FC236}">
                  <a16:creationId xmlns:a16="http://schemas.microsoft.com/office/drawing/2014/main" id="{00D9E09C-31EF-9042-9384-42FB30418B51}"/>
                </a:ext>
              </a:extLst>
            </p:cNvPr>
            <p:cNvSpPr/>
            <p:nvPr/>
          </p:nvSpPr>
          <p:spPr>
            <a:xfrm>
              <a:off x="2506128" y="2652744"/>
              <a:ext cx="1847758" cy="1108655"/>
            </a:xfrm>
            <a:prstGeom prst="rect">
              <a:avLst/>
            </a:prstGeom>
            <a:solidFill>
              <a:schemeClr val="bg2"/>
            </a:solidFill>
            <a:ln>
              <a:noFill/>
            </a:ln>
          </p:spPr>
          <p:style>
            <a:lnRef idx="2">
              <a:schemeClr val="accent6">
                <a:shade val="50000"/>
              </a:schemeClr>
            </a:lnRef>
            <a:fillRef idx="1">
              <a:schemeClr val="accent6"/>
            </a:fillRef>
            <a:effectRef idx="0">
              <a:schemeClr val="accent6"/>
            </a:effectRef>
            <a:fontRef idx="minor">
              <a:schemeClr val="lt1"/>
            </a:fontRef>
          </p:style>
          <p:txBody>
            <a:bodyPr spcFirstLastPara="0" vert="horz" wrap="square" lIns="111602" tIns="111602" rIns="111602" bIns="111602" numCol="1" spcCol="1270" anchor="ctr" anchorCtr="0">
              <a:noAutofit/>
            </a:bodyPr>
            <a:lstStyle/>
            <a:p>
              <a:pPr algn="ctr" defTabSz="923155">
                <a:lnSpc>
                  <a:spcPct val="90000"/>
                </a:lnSpc>
                <a:spcBef>
                  <a:spcPct val="0"/>
                </a:spcBef>
                <a:spcAft>
                  <a:spcPct val="35000"/>
                </a:spcAft>
              </a:pPr>
              <a:r>
                <a:rPr lang="en-US" sz="2400" dirty="0"/>
                <a:t>Single Insert Statements are Slow (True-</a:t>
              </a:r>
              <a:r>
                <a:rPr lang="en-US" sz="2400" dirty="0" err="1"/>
                <a:t>ish</a:t>
              </a:r>
              <a:r>
                <a:rPr lang="en-US" sz="2400" dirty="0"/>
                <a:t>)</a:t>
              </a:r>
            </a:p>
          </p:txBody>
        </p:sp>
        <p:sp>
          <p:nvSpPr>
            <p:cNvPr id="8" name="Freeform 7">
              <a:extLst>
                <a:ext uri="{FF2B5EF4-FFF2-40B4-BE49-F238E27FC236}">
                  <a16:creationId xmlns:a16="http://schemas.microsoft.com/office/drawing/2014/main" id="{32D4CDD4-2F28-6546-952D-1CCF5E3FD1A6}"/>
                </a:ext>
              </a:extLst>
            </p:cNvPr>
            <p:cNvSpPr/>
            <p:nvPr/>
          </p:nvSpPr>
          <p:spPr>
            <a:xfrm>
              <a:off x="4538663" y="2977950"/>
              <a:ext cx="391724" cy="458243"/>
            </a:xfrm>
            <a:custGeom>
              <a:avLst/>
              <a:gdLst>
                <a:gd name="connsiteX0" fmla="*/ 0 w 339494"/>
                <a:gd name="connsiteY0" fmla="*/ 79429 h 397144"/>
                <a:gd name="connsiteX1" fmla="*/ 169747 w 339494"/>
                <a:gd name="connsiteY1" fmla="*/ 79429 h 397144"/>
                <a:gd name="connsiteX2" fmla="*/ 169747 w 339494"/>
                <a:gd name="connsiteY2" fmla="*/ 0 h 397144"/>
                <a:gd name="connsiteX3" fmla="*/ 339494 w 339494"/>
                <a:gd name="connsiteY3" fmla="*/ 198572 h 397144"/>
                <a:gd name="connsiteX4" fmla="*/ 169747 w 339494"/>
                <a:gd name="connsiteY4" fmla="*/ 397144 h 397144"/>
                <a:gd name="connsiteX5" fmla="*/ 169747 w 339494"/>
                <a:gd name="connsiteY5" fmla="*/ 317715 h 397144"/>
                <a:gd name="connsiteX6" fmla="*/ 0 w 339494"/>
                <a:gd name="connsiteY6" fmla="*/ 317715 h 397144"/>
                <a:gd name="connsiteX7" fmla="*/ 0 w 339494"/>
                <a:gd name="connsiteY7" fmla="*/ 79429 h 39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494" h="397144">
                  <a:moveTo>
                    <a:pt x="0" y="79429"/>
                  </a:moveTo>
                  <a:lnTo>
                    <a:pt x="169747" y="79429"/>
                  </a:lnTo>
                  <a:lnTo>
                    <a:pt x="169747" y="0"/>
                  </a:lnTo>
                  <a:lnTo>
                    <a:pt x="339494" y="198572"/>
                  </a:lnTo>
                  <a:lnTo>
                    <a:pt x="169747" y="397144"/>
                  </a:lnTo>
                  <a:lnTo>
                    <a:pt x="169747" y="317715"/>
                  </a:lnTo>
                  <a:lnTo>
                    <a:pt x="0" y="317715"/>
                  </a:lnTo>
                  <a:lnTo>
                    <a:pt x="0" y="79429"/>
                  </a:lnTo>
                  <a:close/>
                </a:path>
              </a:pathLst>
            </a:custGeom>
            <a:solidFill>
              <a:schemeClr val="bg2"/>
            </a:solidFill>
            <a:ln>
              <a:noFill/>
            </a:ln>
          </p:spPr>
          <p:style>
            <a:lnRef idx="2">
              <a:schemeClr val="accent6">
                <a:shade val="50000"/>
              </a:schemeClr>
            </a:lnRef>
            <a:fillRef idx="1">
              <a:schemeClr val="accent6"/>
            </a:fillRef>
            <a:effectRef idx="0">
              <a:schemeClr val="accent6"/>
            </a:effectRef>
            <a:fontRef idx="minor">
              <a:schemeClr val="lt1"/>
            </a:fontRef>
          </p:style>
          <p:txBody>
            <a:bodyPr spcFirstLastPara="0" vert="horz" wrap="square" lIns="0" tIns="91649" rIns="117517" bIns="91649" numCol="1" spcCol="1270" anchor="ctr" anchorCtr="0">
              <a:noAutofit/>
            </a:bodyPr>
            <a:lstStyle/>
            <a:p>
              <a:pPr algn="ctr" defTabSz="718010">
                <a:lnSpc>
                  <a:spcPct val="90000"/>
                </a:lnSpc>
                <a:spcBef>
                  <a:spcPct val="0"/>
                </a:spcBef>
                <a:spcAft>
                  <a:spcPct val="35000"/>
                </a:spcAft>
              </a:pPr>
              <a:endParaRPr lang="en-US" sz="1615"/>
            </a:p>
          </p:txBody>
        </p:sp>
        <p:sp>
          <p:nvSpPr>
            <p:cNvPr id="9" name="Rectangle 8">
              <a:extLst>
                <a:ext uri="{FF2B5EF4-FFF2-40B4-BE49-F238E27FC236}">
                  <a16:creationId xmlns:a16="http://schemas.microsoft.com/office/drawing/2014/main" id="{2DF366E1-3EC6-CD42-9460-C71971F6FF8E}"/>
                </a:ext>
              </a:extLst>
            </p:cNvPr>
            <p:cNvSpPr/>
            <p:nvPr/>
          </p:nvSpPr>
          <p:spPr>
            <a:xfrm>
              <a:off x="5092990" y="2661980"/>
              <a:ext cx="1847758" cy="1108655"/>
            </a:xfrm>
            <a:prstGeom prst="rect">
              <a:avLst/>
            </a:prstGeom>
            <a:solidFill>
              <a:schemeClr val="tx1"/>
            </a:solidFill>
          </p:spPr>
          <p:style>
            <a:lnRef idx="2">
              <a:schemeClr val="lt1">
                <a:hueOff val="0"/>
                <a:satOff val="0"/>
                <a:lumOff val="0"/>
                <a:alphaOff val="0"/>
              </a:schemeClr>
            </a:lnRef>
            <a:fillRef idx="1">
              <a:schemeClr val="accent4">
                <a:hueOff val="5193882"/>
                <a:satOff val="-9558"/>
                <a:lumOff val="-5391"/>
                <a:alphaOff val="0"/>
              </a:schemeClr>
            </a:fillRef>
            <a:effectRef idx="0">
              <a:schemeClr val="accent4">
                <a:hueOff val="5193882"/>
                <a:satOff val="-9558"/>
                <a:lumOff val="-5391"/>
                <a:alphaOff val="0"/>
              </a:schemeClr>
            </a:effectRef>
            <a:fontRef idx="minor">
              <a:schemeClr val="lt1"/>
            </a:fontRef>
          </p:style>
          <p:txBody>
            <a:bodyPr spcFirstLastPara="0" vert="horz" wrap="square" lIns="111602" tIns="111602" rIns="111602" bIns="111602" numCol="1" spcCol="1270" anchor="ctr" anchorCtr="0">
              <a:noAutofit/>
            </a:bodyPr>
            <a:lstStyle/>
            <a:p>
              <a:pPr algn="ctr" defTabSz="923155">
                <a:lnSpc>
                  <a:spcPct val="90000"/>
                </a:lnSpc>
                <a:spcBef>
                  <a:spcPct val="0"/>
                </a:spcBef>
                <a:spcAft>
                  <a:spcPct val="35000"/>
                </a:spcAft>
              </a:pPr>
              <a:r>
                <a:rPr lang="en-US" sz="2400" dirty="0"/>
                <a:t>Inserting Multiple Records is More Efficient (True-</a:t>
              </a:r>
              <a:r>
                <a:rPr lang="en-US" sz="2400" dirty="0" err="1"/>
                <a:t>ish</a:t>
              </a:r>
              <a:r>
                <a:rPr lang="en-US" sz="2400" dirty="0"/>
                <a:t>)</a:t>
              </a:r>
            </a:p>
          </p:txBody>
        </p:sp>
        <p:sp>
          <p:nvSpPr>
            <p:cNvPr id="10" name="Freeform 9">
              <a:extLst>
                <a:ext uri="{FF2B5EF4-FFF2-40B4-BE49-F238E27FC236}">
                  <a16:creationId xmlns:a16="http://schemas.microsoft.com/office/drawing/2014/main" id="{0EFABA7E-D30F-074D-AF42-D57072D02B91}"/>
                </a:ext>
              </a:extLst>
            </p:cNvPr>
            <p:cNvSpPr/>
            <p:nvPr/>
          </p:nvSpPr>
          <p:spPr>
            <a:xfrm>
              <a:off x="7125525" y="2977950"/>
              <a:ext cx="391724" cy="458243"/>
            </a:xfrm>
            <a:custGeom>
              <a:avLst/>
              <a:gdLst>
                <a:gd name="connsiteX0" fmla="*/ 0 w 339494"/>
                <a:gd name="connsiteY0" fmla="*/ 79429 h 397144"/>
                <a:gd name="connsiteX1" fmla="*/ 169747 w 339494"/>
                <a:gd name="connsiteY1" fmla="*/ 79429 h 397144"/>
                <a:gd name="connsiteX2" fmla="*/ 169747 w 339494"/>
                <a:gd name="connsiteY2" fmla="*/ 0 h 397144"/>
                <a:gd name="connsiteX3" fmla="*/ 339494 w 339494"/>
                <a:gd name="connsiteY3" fmla="*/ 198572 h 397144"/>
                <a:gd name="connsiteX4" fmla="*/ 169747 w 339494"/>
                <a:gd name="connsiteY4" fmla="*/ 397144 h 397144"/>
                <a:gd name="connsiteX5" fmla="*/ 169747 w 339494"/>
                <a:gd name="connsiteY5" fmla="*/ 317715 h 397144"/>
                <a:gd name="connsiteX6" fmla="*/ 0 w 339494"/>
                <a:gd name="connsiteY6" fmla="*/ 317715 h 397144"/>
                <a:gd name="connsiteX7" fmla="*/ 0 w 339494"/>
                <a:gd name="connsiteY7" fmla="*/ 79429 h 39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494" h="397144">
                  <a:moveTo>
                    <a:pt x="0" y="79429"/>
                  </a:moveTo>
                  <a:lnTo>
                    <a:pt x="169747" y="79429"/>
                  </a:lnTo>
                  <a:lnTo>
                    <a:pt x="169747" y="0"/>
                  </a:lnTo>
                  <a:lnTo>
                    <a:pt x="339494" y="198572"/>
                  </a:lnTo>
                  <a:lnTo>
                    <a:pt x="169747" y="397144"/>
                  </a:lnTo>
                  <a:lnTo>
                    <a:pt x="169747" y="317715"/>
                  </a:lnTo>
                  <a:lnTo>
                    <a:pt x="0" y="317715"/>
                  </a:lnTo>
                  <a:lnTo>
                    <a:pt x="0" y="79429"/>
                  </a:lnTo>
                  <a:close/>
                </a:path>
              </a:pathLst>
            </a:custGeom>
            <a:solidFill>
              <a:schemeClr val="tx1"/>
            </a:solidFill>
          </p:spPr>
          <p:style>
            <a:lnRef idx="0">
              <a:schemeClr val="lt1">
                <a:hueOff val="0"/>
                <a:satOff val="0"/>
                <a:lumOff val="0"/>
                <a:alphaOff val="0"/>
              </a:schemeClr>
            </a:lnRef>
            <a:fillRef idx="1">
              <a:schemeClr val="accent4">
                <a:hueOff val="10387764"/>
                <a:satOff val="-19117"/>
                <a:lumOff val="-10782"/>
                <a:alphaOff val="0"/>
              </a:schemeClr>
            </a:fillRef>
            <a:effectRef idx="0">
              <a:schemeClr val="accent4">
                <a:hueOff val="10387764"/>
                <a:satOff val="-19117"/>
                <a:lumOff val="-10782"/>
                <a:alphaOff val="0"/>
              </a:schemeClr>
            </a:effectRef>
            <a:fontRef idx="minor">
              <a:schemeClr val="lt1"/>
            </a:fontRef>
          </p:style>
          <p:txBody>
            <a:bodyPr spcFirstLastPara="0" vert="horz" wrap="square" lIns="0" tIns="91649" rIns="117517" bIns="91649" numCol="1" spcCol="1270" anchor="ctr" anchorCtr="0">
              <a:noAutofit/>
            </a:bodyPr>
            <a:lstStyle/>
            <a:p>
              <a:pPr algn="ctr" defTabSz="718010">
                <a:lnSpc>
                  <a:spcPct val="90000"/>
                </a:lnSpc>
                <a:spcBef>
                  <a:spcPct val="0"/>
                </a:spcBef>
                <a:spcAft>
                  <a:spcPct val="35000"/>
                </a:spcAft>
              </a:pPr>
              <a:endParaRPr lang="en-US" sz="1615"/>
            </a:p>
          </p:txBody>
        </p:sp>
        <p:sp>
          <p:nvSpPr>
            <p:cNvPr id="11" name="Rectangle 10">
              <a:extLst>
                <a:ext uri="{FF2B5EF4-FFF2-40B4-BE49-F238E27FC236}">
                  <a16:creationId xmlns:a16="http://schemas.microsoft.com/office/drawing/2014/main" id="{67814AA5-A7EE-FB4D-9BEE-7B9D81714B8E}"/>
                </a:ext>
              </a:extLst>
            </p:cNvPr>
            <p:cNvSpPr/>
            <p:nvPr/>
          </p:nvSpPr>
          <p:spPr>
            <a:xfrm>
              <a:off x="7679852" y="2652744"/>
              <a:ext cx="1847758" cy="1108655"/>
            </a:xfrm>
            <a:prstGeom prst="rect">
              <a:avLst/>
            </a:prstGeom>
            <a:solidFill>
              <a:schemeClr val="tx2"/>
            </a:solidFill>
          </p:spPr>
          <p:style>
            <a:lnRef idx="2">
              <a:schemeClr val="lt1">
                <a:hueOff val="0"/>
                <a:satOff val="0"/>
                <a:lumOff val="0"/>
                <a:alphaOff val="0"/>
              </a:schemeClr>
            </a:lnRef>
            <a:fillRef idx="1">
              <a:schemeClr val="accent4">
                <a:hueOff val="10387764"/>
                <a:satOff val="-19117"/>
                <a:lumOff val="-10782"/>
                <a:alphaOff val="0"/>
              </a:schemeClr>
            </a:fillRef>
            <a:effectRef idx="0">
              <a:schemeClr val="accent4">
                <a:hueOff val="10387764"/>
                <a:satOff val="-19117"/>
                <a:lumOff val="-10782"/>
                <a:alphaOff val="0"/>
              </a:schemeClr>
            </a:effectRef>
            <a:fontRef idx="minor">
              <a:schemeClr val="lt1"/>
            </a:fontRef>
          </p:style>
          <p:txBody>
            <a:bodyPr spcFirstLastPara="0" vert="horz" wrap="square" lIns="111602" tIns="111602" rIns="111602" bIns="111602" numCol="1" spcCol="1270" anchor="ctr" anchorCtr="0">
              <a:noAutofit/>
            </a:bodyPr>
            <a:lstStyle/>
            <a:p>
              <a:pPr algn="ctr" defTabSz="923155">
                <a:lnSpc>
                  <a:spcPct val="90000"/>
                </a:lnSpc>
                <a:spcBef>
                  <a:spcPct val="0"/>
                </a:spcBef>
                <a:spcAft>
                  <a:spcPct val="35000"/>
                </a:spcAft>
              </a:pPr>
              <a:r>
                <a:rPr lang="en-US" sz="2400" dirty="0">
                  <a:solidFill>
                    <a:schemeClr val="tx1"/>
                  </a:solidFill>
                </a:rPr>
                <a:t>Let’s Use a Merge Statement to Protect Ourselves from Strange SQL Generation Issues!</a:t>
              </a:r>
            </a:p>
          </p:txBody>
        </p:sp>
      </p:grpSp>
      <p:pic>
        <p:nvPicPr>
          <p:cNvPr id="13" name="Picture 12">
            <a:extLst>
              <a:ext uri="{FF2B5EF4-FFF2-40B4-BE49-F238E27FC236}">
                <a16:creationId xmlns:a16="http://schemas.microsoft.com/office/drawing/2014/main" id="{8B0A9AC1-7B37-434F-A6E0-137AFEFF889C}"/>
              </a:ext>
            </a:extLst>
          </p:cNvPr>
          <p:cNvPicPr>
            <a:picLocks noChangeAspect="1"/>
          </p:cNvPicPr>
          <p:nvPr/>
        </p:nvPicPr>
        <p:blipFill>
          <a:blip r:embed="rId2"/>
          <a:stretch>
            <a:fillRect/>
          </a:stretch>
        </p:blipFill>
        <p:spPr>
          <a:xfrm>
            <a:off x="1358898" y="5438936"/>
            <a:ext cx="9474200" cy="965200"/>
          </a:xfrm>
          <a:prstGeom prst="rect">
            <a:avLst/>
          </a:prstGeom>
        </p:spPr>
      </p:pic>
    </p:spTree>
    <p:extLst>
      <p:ext uri="{BB962C8B-B14F-4D97-AF65-F5344CB8AC3E}">
        <p14:creationId xmlns:p14="http://schemas.microsoft.com/office/powerpoint/2010/main" val="23459034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54F0C4-B4B6-1843-BD33-F23317B1C47C}"/>
              </a:ext>
            </a:extLst>
          </p:cNvPr>
          <p:cNvSpPr>
            <a:spLocks noGrp="1"/>
          </p:cNvSpPr>
          <p:nvPr>
            <p:ph type="title"/>
          </p:nvPr>
        </p:nvSpPr>
        <p:spPr/>
        <p:txBody>
          <a:bodyPr/>
          <a:lstStyle/>
          <a:p>
            <a:r>
              <a:rPr lang="en-US" sz="4400" dirty="0"/>
              <a:t>Reading Data – The Clear Choice</a:t>
            </a:r>
          </a:p>
        </p:txBody>
      </p:sp>
      <p:sp>
        <p:nvSpPr>
          <p:cNvPr id="4" name="Text Placeholder 3">
            <a:extLst>
              <a:ext uri="{FF2B5EF4-FFF2-40B4-BE49-F238E27FC236}">
                <a16:creationId xmlns:a16="http://schemas.microsoft.com/office/drawing/2014/main" id="{4C4672FC-A36F-AA46-997F-6D2D414BFE3B}"/>
              </a:ext>
            </a:extLst>
          </p:cNvPr>
          <p:cNvSpPr>
            <a:spLocks noGrp="1"/>
          </p:cNvSpPr>
          <p:nvPr>
            <p:ph type="body" sz="quarter" idx="13"/>
          </p:nvPr>
        </p:nvSpPr>
        <p:spPr/>
        <p:txBody>
          <a:bodyPr/>
          <a:lstStyle/>
          <a:p>
            <a:r>
              <a:rPr lang="en-US" dirty="0"/>
              <a:t>ACCESS PATTERNS</a:t>
            </a:r>
          </a:p>
        </p:txBody>
      </p:sp>
      <p:sp>
        <p:nvSpPr>
          <p:cNvPr id="5" name="Slide Number Placeholder 4">
            <a:extLst>
              <a:ext uri="{FF2B5EF4-FFF2-40B4-BE49-F238E27FC236}">
                <a16:creationId xmlns:a16="http://schemas.microsoft.com/office/drawing/2014/main" id="{A2E9A9EE-5121-D240-B6FD-9B25FE3CEB64}"/>
              </a:ext>
            </a:extLst>
          </p:cNvPr>
          <p:cNvSpPr>
            <a:spLocks noGrp="1"/>
          </p:cNvSpPr>
          <p:nvPr>
            <p:ph type="sldNum" sz="quarter" idx="4"/>
          </p:nvPr>
        </p:nvSpPr>
        <p:spPr/>
        <p:txBody>
          <a:bodyPr/>
          <a:lstStyle/>
          <a:p>
            <a:fld id="{E1123682-AE52-6D45-865E-F1EB3AE0E340}" type="slidenum">
              <a:rPr lang="en-US" smtClean="0"/>
              <a:pPr/>
              <a:t>15</a:t>
            </a:fld>
            <a:endParaRPr lang="en-US" dirty="0"/>
          </a:p>
        </p:txBody>
      </p:sp>
      <p:grpSp>
        <p:nvGrpSpPr>
          <p:cNvPr id="15" name="Группа 3">
            <a:extLst>
              <a:ext uri="{FF2B5EF4-FFF2-40B4-BE49-F238E27FC236}">
                <a16:creationId xmlns:a16="http://schemas.microsoft.com/office/drawing/2014/main" id="{1CC57CE2-F577-3944-8E6C-9FCA733A789E}"/>
              </a:ext>
            </a:extLst>
          </p:cNvPr>
          <p:cNvGrpSpPr>
            <a:grpSpLocks/>
          </p:cNvGrpSpPr>
          <p:nvPr/>
        </p:nvGrpSpPr>
        <p:grpSpPr bwMode="auto">
          <a:xfrm>
            <a:off x="609600" y="2020613"/>
            <a:ext cx="10972800" cy="3439032"/>
            <a:chOff x="6963947" y="7442640"/>
            <a:chExt cx="6038997" cy="2957244"/>
          </a:xfrm>
        </p:grpSpPr>
        <p:sp>
          <p:nvSpPr>
            <p:cNvPr id="16" name="Freeform 844">
              <a:extLst>
                <a:ext uri="{FF2B5EF4-FFF2-40B4-BE49-F238E27FC236}">
                  <a16:creationId xmlns:a16="http://schemas.microsoft.com/office/drawing/2014/main" id="{DB55E50D-FACB-0C49-956A-73D06DC1F4BE}"/>
                </a:ext>
              </a:extLst>
            </p:cNvPr>
            <p:cNvSpPr>
              <a:spLocks/>
            </p:cNvSpPr>
            <p:nvPr/>
          </p:nvSpPr>
          <p:spPr bwMode="auto">
            <a:xfrm>
              <a:off x="6963947" y="9040975"/>
              <a:ext cx="3508306" cy="1358909"/>
            </a:xfrm>
            <a:custGeom>
              <a:avLst/>
              <a:gdLst>
                <a:gd name="T0" fmla="*/ 0 w 718"/>
                <a:gd name="T1" fmla="*/ 2147483646 h 420"/>
                <a:gd name="T2" fmla="*/ 2147483646 w 718"/>
                <a:gd name="T3" fmla="*/ 2147483646 h 420"/>
                <a:gd name="T4" fmla="*/ 2147483646 w 718"/>
                <a:gd name="T5" fmla="*/ 2147483646 h 420"/>
                <a:gd name="T6" fmla="*/ 2147483646 w 718"/>
                <a:gd name="T7" fmla="*/ 2147483646 h 420"/>
                <a:gd name="T8" fmla="*/ 2147483646 w 718"/>
                <a:gd name="T9" fmla="*/ 2147483646 h 420"/>
                <a:gd name="T10" fmla="*/ 2147483646 w 718"/>
                <a:gd name="T11" fmla="*/ 2147483646 h 420"/>
                <a:gd name="T12" fmla="*/ 2147483646 w 718"/>
                <a:gd name="T13" fmla="*/ 0 h 420"/>
                <a:gd name="T14" fmla="*/ 0 w 718"/>
                <a:gd name="T15" fmla="*/ 2147483646 h 42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18" h="420">
                  <a:moveTo>
                    <a:pt x="0" y="210"/>
                  </a:moveTo>
                  <a:lnTo>
                    <a:pt x="210" y="420"/>
                  </a:lnTo>
                  <a:lnTo>
                    <a:pt x="210" y="354"/>
                  </a:lnTo>
                  <a:lnTo>
                    <a:pt x="432" y="354"/>
                  </a:lnTo>
                  <a:lnTo>
                    <a:pt x="718" y="66"/>
                  </a:lnTo>
                  <a:lnTo>
                    <a:pt x="210" y="66"/>
                  </a:lnTo>
                  <a:lnTo>
                    <a:pt x="210" y="0"/>
                  </a:lnTo>
                  <a:lnTo>
                    <a:pt x="0" y="21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lIns="79132" tIns="39567" rIns="79132" bIns="39567"/>
            <a:lstStyle/>
            <a:p>
              <a:pPr defTabSz="2813426" eaLnBrk="0" fontAlgn="base" hangingPunct="0">
                <a:spcBef>
                  <a:spcPct val="0"/>
                </a:spcBef>
                <a:spcAft>
                  <a:spcPct val="0"/>
                </a:spcAft>
                <a:defRPr/>
              </a:pPr>
              <a:endParaRPr kumimoji="1" lang="en-US" sz="1385" kern="0">
                <a:solidFill>
                  <a:srgbClr val="F2F2F2"/>
                </a:solidFill>
                <a:latin typeface="Calibri" panose="020F0502020204030204" pitchFamily="34" charset="0"/>
                <a:cs typeface="Calibri" panose="020F0502020204030204" pitchFamily="34" charset="0"/>
              </a:endParaRPr>
            </a:p>
          </p:txBody>
        </p:sp>
        <p:sp>
          <p:nvSpPr>
            <p:cNvPr id="17" name="Freeform 845">
              <a:extLst>
                <a:ext uri="{FF2B5EF4-FFF2-40B4-BE49-F238E27FC236}">
                  <a16:creationId xmlns:a16="http://schemas.microsoft.com/office/drawing/2014/main" id="{7972FC02-52ED-1449-87D3-6672C3E702E6}"/>
                </a:ext>
              </a:extLst>
            </p:cNvPr>
            <p:cNvSpPr>
              <a:spLocks/>
            </p:cNvSpPr>
            <p:nvPr/>
          </p:nvSpPr>
          <p:spPr bwMode="auto">
            <a:xfrm>
              <a:off x="9928807" y="8704696"/>
              <a:ext cx="543666" cy="549901"/>
            </a:xfrm>
            <a:custGeom>
              <a:avLst/>
              <a:gdLst>
                <a:gd name="T0" fmla="*/ 0 w 168"/>
                <a:gd name="T1" fmla="*/ 170 h 170"/>
                <a:gd name="T2" fmla="*/ 168 w 168"/>
                <a:gd name="T3" fmla="*/ 170 h 170"/>
                <a:gd name="T4" fmla="*/ 168 w 168"/>
                <a:gd name="T5" fmla="*/ 0 h 170"/>
                <a:gd name="T6" fmla="*/ 0 w 168"/>
                <a:gd name="T7" fmla="*/ 170 h 170"/>
              </a:gdLst>
              <a:ahLst/>
              <a:cxnLst>
                <a:cxn ang="0">
                  <a:pos x="T0" y="T1"/>
                </a:cxn>
                <a:cxn ang="0">
                  <a:pos x="T2" y="T3"/>
                </a:cxn>
                <a:cxn ang="0">
                  <a:pos x="T4" y="T5"/>
                </a:cxn>
                <a:cxn ang="0">
                  <a:pos x="T6" y="T7"/>
                </a:cxn>
              </a:cxnLst>
              <a:rect l="0" t="0" r="r" b="b"/>
              <a:pathLst>
                <a:path w="168" h="170">
                  <a:moveTo>
                    <a:pt x="0" y="170"/>
                  </a:moveTo>
                  <a:lnTo>
                    <a:pt x="168" y="170"/>
                  </a:lnTo>
                  <a:lnTo>
                    <a:pt x="168" y="0"/>
                  </a:lnTo>
                  <a:lnTo>
                    <a:pt x="0" y="170"/>
                  </a:lnTo>
                  <a:close/>
                </a:path>
              </a:pathLst>
            </a:custGeom>
            <a:solidFill>
              <a:schemeClr val="bg2">
                <a:lumMod val="75000"/>
                <a:lumOff val="25000"/>
                <a:alpha val="69804"/>
              </a:schemeClr>
            </a:solidFill>
            <a:ln>
              <a:noFill/>
            </a:ln>
          </p:spPr>
          <p:txBody>
            <a:bodyPr lIns="79132" tIns="39567" rIns="79132" bIns="39567"/>
            <a:lstStyle/>
            <a:p>
              <a:pPr defTabSz="2813567">
                <a:defRPr/>
              </a:pPr>
              <a:endParaRPr lang="en-US" sz="1385" kern="0">
                <a:solidFill>
                  <a:srgbClr val="F2F2F2"/>
                </a:solidFill>
                <a:latin typeface="Calibri" panose="020F0502020204030204" pitchFamily="34" charset="0"/>
                <a:cs typeface="Calibri" panose="020F0502020204030204" pitchFamily="34" charset="0"/>
              </a:endParaRPr>
            </a:p>
          </p:txBody>
        </p:sp>
        <p:sp>
          <p:nvSpPr>
            <p:cNvPr id="18" name="Freeform 846">
              <a:extLst>
                <a:ext uri="{FF2B5EF4-FFF2-40B4-BE49-F238E27FC236}">
                  <a16:creationId xmlns:a16="http://schemas.microsoft.com/office/drawing/2014/main" id="{EBB73A96-DDA7-D843-92DA-01A5358CD6DF}"/>
                </a:ext>
              </a:extLst>
            </p:cNvPr>
            <p:cNvSpPr>
              <a:spLocks/>
            </p:cNvSpPr>
            <p:nvPr/>
          </p:nvSpPr>
          <p:spPr bwMode="auto">
            <a:xfrm>
              <a:off x="9546900" y="7442640"/>
              <a:ext cx="3456044" cy="1365380"/>
            </a:xfrm>
            <a:custGeom>
              <a:avLst/>
              <a:gdLst>
                <a:gd name="T0" fmla="*/ 2147483646 w 718"/>
                <a:gd name="T1" fmla="*/ 2147483646 h 422"/>
                <a:gd name="T2" fmla="*/ 2147483646 w 718"/>
                <a:gd name="T3" fmla="*/ 0 h 422"/>
                <a:gd name="T4" fmla="*/ 2147483646 w 718"/>
                <a:gd name="T5" fmla="*/ 2147483646 h 422"/>
                <a:gd name="T6" fmla="*/ 2147483646 w 718"/>
                <a:gd name="T7" fmla="*/ 2147483646 h 422"/>
                <a:gd name="T8" fmla="*/ 0 w 718"/>
                <a:gd name="T9" fmla="*/ 2147483646 h 422"/>
                <a:gd name="T10" fmla="*/ 2147483646 w 718"/>
                <a:gd name="T11" fmla="*/ 2147483646 h 422"/>
                <a:gd name="T12" fmla="*/ 2147483646 w 718"/>
                <a:gd name="T13" fmla="*/ 2147483646 h 422"/>
                <a:gd name="T14" fmla="*/ 2147483646 w 718"/>
                <a:gd name="T15" fmla="*/ 2147483646 h 42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18" h="422">
                  <a:moveTo>
                    <a:pt x="718" y="210"/>
                  </a:moveTo>
                  <a:lnTo>
                    <a:pt x="508" y="0"/>
                  </a:lnTo>
                  <a:lnTo>
                    <a:pt x="508" y="68"/>
                  </a:lnTo>
                  <a:lnTo>
                    <a:pt x="286" y="68"/>
                  </a:lnTo>
                  <a:lnTo>
                    <a:pt x="0" y="354"/>
                  </a:lnTo>
                  <a:lnTo>
                    <a:pt x="508" y="354"/>
                  </a:lnTo>
                  <a:lnTo>
                    <a:pt x="508" y="422"/>
                  </a:lnTo>
                  <a:lnTo>
                    <a:pt x="718" y="21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lIns="79132" tIns="39567" rIns="79132" bIns="39567"/>
            <a:lstStyle/>
            <a:p>
              <a:pPr defTabSz="2813426" eaLnBrk="0" fontAlgn="base" hangingPunct="0">
                <a:spcBef>
                  <a:spcPct val="0"/>
                </a:spcBef>
                <a:spcAft>
                  <a:spcPct val="0"/>
                </a:spcAft>
                <a:defRPr/>
              </a:pPr>
              <a:endParaRPr kumimoji="1" lang="en-US" sz="1385" kern="0">
                <a:solidFill>
                  <a:srgbClr val="F2F2F2"/>
                </a:solidFill>
                <a:latin typeface="Calibri" panose="020F0502020204030204" pitchFamily="34" charset="0"/>
                <a:cs typeface="Calibri" panose="020F0502020204030204" pitchFamily="34" charset="0"/>
              </a:endParaRPr>
            </a:p>
          </p:txBody>
        </p:sp>
        <p:sp>
          <p:nvSpPr>
            <p:cNvPr id="19" name="Freeform 847">
              <a:extLst>
                <a:ext uri="{FF2B5EF4-FFF2-40B4-BE49-F238E27FC236}">
                  <a16:creationId xmlns:a16="http://schemas.microsoft.com/office/drawing/2014/main" id="{36FC11ED-D67B-3D4B-9AF1-E05D86047084}"/>
                </a:ext>
              </a:extLst>
            </p:cNvPr>
            <p:cNvSpPr>
              <a:spLocks/>
            </p:cNvSpPr>
            <p:nvPr/>
          </p:nvSpPr>
          <p:spPr bwMode="auto">
            <a:xfrm>
              <a:off x="9546679" y="8587927"/>
              <a:ext cx="550454" cy="549901"/>
            </a:xfrm>
            <a:custGeom>
              <a:avLst/>
              <a:gdLst>
                <a:gd name="T0" fmla="*/ 170 w 170"/>
                <a:gd name="T1" fmla="*/ 0 h 170"/>
                <a:gd name="T2" fmla="*/ 0 w 170"/>
                <a:gd name="T3" fmla="*/ 0 h 170"/>
                <a:gd name="T4" fmla="*/ 0 w 170"/>
                <a:gd name="T5" fmla="*/ 170 h 170"/>
                <a:gd name="T6" fmla="*/ 170 w 170"/>
                <a:gd name="T7" fmla="*/ 0 h 170"/>
              </a:gdLst>
              <a:ahLst/>
              <a:cxnLst>
                <a:cxn ang="0">
                  <a:pos x="T0" y="T1"/>
                </a:cxn>
                <a:cxn ang="0">
                  <a:pos x="T2" y="T3"/>
                </a:cxn>
                <a:cxn ang="0">
                  <a:pos x="T4" y="T5"/>
                </a:cxn>
                <a:cxn ang="0">
                  <a:pos x="T6" y="T7"/>
                </a:cxn>
              </a:cxnLst>
              <a:rect l="0" t="0" r="r" b="b"/>
              <a:pathLst>
                <a:path w="170" h="170">
                  <a:moveTo>
                    <a:pt x="170" y="0"/>
                  </a:moveTo>
                  <a:lnTo>
                    <a:pt x="0" y="0"/>
                  </a:lnTo>
                  <a:lnTo>
                    <a:pt x="0" y="170"/>
                  </a:lnTo>
                  <a:lnTo>
                    <a:pt x="170" y="0"/>
                  </a:lnTo>
                  <a:close/>
                </a:path>
              </a:pathLst>
            </a:custGeom>
            <a:solidFill>
              <a:schemeClr val="accent5">
                <a:lumMod val="60000"/>
                <a:lumOff val="40000"/>
              </a:schemeClr>
            </a:solidFill>
            <a:ln>
              <a:noFill/>
            </a:ln>
          </p:spPr>
          <p:txBody>
            <a:bodyPr lIns="79132" tIns="39567" rIns="79132" bIns="39567"/>
            <a:lstStyle/>
            <a:p>
              <a:pPr defTabSz="2813567">
                <a:defRPr/>
              </a:pPr>
              <a:endParaRPr lang="en-US" sz="1385" kern="0">
                <a:solidFill>
                  <a:srgbClr val="F2F2F2"/>
                </a:solidFill>
                <a:latin typeface="Calibri" panose="020F0502020204030204" pitchFamily="34" charset="0"/>
                <a:cs typeface="Calibri" panose="020F0502020204030204" pitchFamily="34" charset="0"/>
              </a:endParaRPr>
            </a:p>
          </p:txBody>
        </p:sp>
        <p:sp>
          <p:nvSpPr>
            <p:cNvPr id="20" name="Freeform 846">
              <a:extLst>
                <a:ext uri="{FF2B5EF4-FFF2-40B4-BE49-F238E27FC236}">
                  <a16:creationId xmlns:a16="http://schemas.microsoft.com/office/drawing/2014/main" id="{54C08F5D-3C09-E442-9D15-8CA85A80D8BF}"/>
                </a:ext>
              </a:extLst>
            </p:cNvPr>
            <p:cNvSpPr>
              <a:spLocks/>
            </p:cNvSpPr>
            <p:nvPr/>
          </p:nvSpPr>
          <p:spPr bwMode="auto">
            <a:xfrm>
              <a:off x="9546679" y="7448138"/>
              <a:ext cx="3456044" cy="1365380"/>
            </a:xfrm>
            <a:custGeom>
              <a:avLst/>
              <a:gdLst>
                <a:gd name="T0" fmla="*/ 2147483646 w 718"/>
                <a:gd name="T1" fmla="*/ 2147483646 h 422"/>
                <a:gd name="T2" fmla="*/ 2147483646 w 718"/>
                <a:gd name="T3" fmla="*/ 0 h 422"/>
                <a:gd name="T4" fmla="*/ 2147483646 w 718"/>
                <a:gd name="T5" fmla="*/ 2147483646 h 422"/>
                <a:gd name="T6" fmla="*/ 2147483646 w 718"/>
                <a:gd name="T7" fmla="*/ 2147483646 h 422"/>
                <a:gd name="T8" fmla="*/ 0 w 718"/>
                <a:gd name="T9" fmla="*/ 2147483646 h 422"/>
                <a:gd name="T10" fmla="*/ 2147483646 w 718"/>
                <a:gd name="T11" fmla="*/ 2147483646 h 422"/>
                <a:gd name="T12" fmla="*/ 2147483646 w 718"/>
                <a:gd name="T13" fmla="*/ 2147483646 h 422"/>
                <a:gd name="T14" fmla="*/ 2147483646 w 718"/>
                <a:gd name="T15" fmla="*/ 2147483646 h 42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18" h="422">
                  <a:moveTo>
                    <a:pt x="718" y="210"/>
                  </a:moveTo>
                  <a:lnTo>
                    <a:pt x="508" y="0"/>
                  </a:lnTo>
                  <a:lnTo>
                    <a:pt x="508" y="68"/>
                  </a:lnTo>
                  <a:lnTo>
                    <a:pt x="286" y="68"/>
                  </a:lnTo>
                  <a:lnTo>
                    <a:pt x="0" y="354"/>
                  </a:lnTo>
                  <a:lnTo>
                    <a:pt x="508" y="354"/>
                  </a:lnTo>
                  <a:lnTo>
                    <a:pt x="508" y="422"/>
                  </a:lnTo>
                  <a:lnTo>
                    <a:pt x="718" y="21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lIns="79132" tIns="39567" rIns="79132" bIns="39567"/>
            <a:lstStyle/>
            <a:p>
              <a:pPr defTabSz="2813426" eaLnBrk="0" fontAlgn="base" hangingPunct="0">
                <a:spcBef>
                  <a:spcPct val="0"/>
                </a:spcBef>
                <a:spcAft>
                  <a:spcPct val="0"/>
                </a:spcAft>
                <a:defRPr/>
              </a:pPr>
              <a:endParaRPr kumimoji="1" lang="en-US" sz="1385" kern="0">
                <a:solidFill>
                  <a:srgbClr val="F2F2F2"/>
                </a:solidFill>
                <a:latin typeface="Calibri" panose="020F0502020204030204" pitchFamily="34" charset="0"/>
                <a:cs typeface="Calibri" panose="020F0502020204030204" pitchFamily="34" charset="0"/>
              </a:endParaRPr>
            </a:p>
          </p:txBody>
        </p:sp>
      </p:grpSp>
      <p:sp>
        <p:nvSpPr>
          <p:cNvPr id="21" name="Текст 11">
            <a:extLst>
              <a:ext uri="{FF2B5EF4-FFF2-40B4-BE49-F238E27FC236}">
                <a16:creationId xmlns:a16="http://schemas.microsoft.com/office/drawing/2014/main" id="{3DBC7201-E167-3342-87CC-CFDBF4FA7F29}"/>
              </a:ext>
            </a:extLst>
          </p:cNvPr>
          <p:cNvSpPr txBox="1">
            <a:spLocks/>
          </p:cNvSpPr>
          <p:nvPr/>
        </p:nvSpPr>
        <p:spPr bwMode="auto">
          <a:xfrm>
            <a:off x="7033298" y="2184109"/>
            <a:ext cx="4549102" cy="3877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5508" tIns="52754" rIns="105508" bIns="52754" numCol="1" anchor="t" anchorCtr="0" compatLnSpc="1">
            <a:prstTxWarp prst="textNoShape">
              <a:avLst/>
            </a:prstTxWarp>
          </a:bodyPr>
          <a:lstStyle>
            <a:lvl1pPr marL="0" marR="0" indent="0" algn="l" defTabSz="1828892" rtl="0" eaLnBrk="1" fontAlgn="auto" latinLnBrk="0" hangingPunct="1">
              <a:lnSpc>
                <a:spcPct val="150000"/>
              </a:lnSpc>
              <a:spcBef>
                <a:spcPct val="20000"/>
              </a:spcBef>
              <a:spcAft>
                <a:spcPts val="0"/>
              </a:spcAft>
              <a:buClrTx/>
              <a:buSzTx/>
              <a:buFont typeface="Arial" panose="020B0604020202020204" pitchFamily="34" charset="0"/>
              <a:buNone/>
              <a:tabLst/>
              <a:defRPr kumimoji="1" sz="2800" b="0" i="0" kern="1200" baseline="0">
                <a:solidFill>
                  <a:srgbClr val="4C5561"/>
                </a:solidFill>
                <a:latin typeface="Aller Light" panose="02000503000000020004" pitchFamily="2" charset="0"/>
                <a:ea typeface="+mn-ea"/>
                <a:cs typeface="Aller Light" panose="02000503000000020004" pitchFamily="2" charset="0"/>
              </a:defRPr>
            </a:lvl1pPr>
            <a:lvl2pPr marL="1485900" indent="-571500" algn="l" defTabSz="1828800" rtl="0" eaLnBrk="0" fontAlgn="base" hangingPunct="0">
              <a:spcBef>
                <a:spcPct val="20000"/>
              </a:spcBef>
              <a:spcAft>
                <a:spcPct val="0"/>
              </a:spcAft>
              <a:buFont typeface="Arial" panose="020B0604020202020204" pitchFamily="34" charset="0"/>
              <a:buChar char="–"/>
              <a:defRPr kumimoji="1" sz="2100" b="0" i="0" kern="1200">
                <a:solidFill>
                  <a:srgbClr val="4C5561"/>
                </a:solidFill>
                <a:latin typeface="Aller" panose="02000503030000020004" pitchFamily="2" charset="0"/>
                <a:ea typeface="+mn-ea"/>
                <a:cs typeface="Aller" panose="02000503030000020004" pitchFamily="2" charset="0"/>
              </a:defRPr>
            </a:lvl2pPr>
            <a:lvl3pPr marL="2286000" indent="-457200" algn="l" defTabSz="1828800" rtl="0" eaLnBrk="0" fontAlgn="base" hangingPunct="0">
              <a:spcBef>
                <a:spcPct val="20000"/>
              </a:spcBef>
              <a:spcAft>
                <a:spcPct val="0"/>
              </a:spcAft>
              <a:buFont typeface="Arial" panose="020B0604020202020204" pitchFamily="34" charset="0"/>
              <a:buChar char="•"/>
              <a:defRPr kumimoji="1" sz="2100" b="0" i="0" kern="1200">
                <a:solidFill>
                  <a:srgbClr val="4C5561"/>
                </a:solidFill>
                <a:latin typeface="Aller" panose="02000503030000020004" pitchFamily="2" charset="0"/>
                <a:ea typeface="+mn-ea"/>
                <a:cs typeface="Aller" panose="02000503030000020004" pitchFamily="2" charset="0"/>
              </a:defRPr>
            </a:lvl3pPr>
            <a:lvl4pPr marL="3200400" indent="-457200" algn="l" defTabSz="1828800" rtl="0" eaLnBrk="0" fontAlgn="base" hangingPunct="0">
              <a:spcBef>
                <a:spcPct val="20000"/>
              </a:spcBef>
              <a:spcAft>
                <a:spcPct val="0"/>
              </a:spcAft>
              <a:buFont typeface="Arial" panose="020B0604020202020204" pitchFamily="34" charset="0"/>
              <a:buChar char="–"/>
              <a:defRPr kumimoji="1" sz="2100" b="0" i="0" kern="1200">
                <a:solidFill>
                  <a:srgbClr val="4C5561"/>
                </a:solidFill>
                <a:latin typeface="Aller" panose="02000503030000020004" pitchFamily="2" charset="0"/>
                <a:ea typeface="+mn-ea"/>
                <a:cs typeface="Aller" panose="02000503030000020004" pitchFamily="2" charset="0"/>
              </a:defRPr>
            </a:lvl4pPr>
            <a:lvl5pPr marL="4114800" indent="-457200" algn="l" defTabSz="1828800" rtl="0" eaLnBrk="0" fontAlgn="base" hangingPunct="0">
              <a:spcBef>
                <a:spcPct val="20000"/>
              </a:spcBef>
              <a:spcAft>
                <a:spcPct val="0"/>
              </a:spcAft>
              <a:buFont typeface="Arial" panose="020B0604020202020204" pitchFamily="34" charset="0"/>
              <a:buChar char="»"/>
              <a:defRPr kumimoji="1" sz="2100" b="0" i="0" kern="1200">
                <a:solidFill>
                  <a:srgbClr val="4C5561"/>
                </a:solidFill>
                <a:latin typeface="Aller" panose="02000503030000020004" pitchFamily="2" charset="0"/>
                <a:ea typeface="+mn-ea"/>
                <a:cs typeface="Aller" panose="02000503030000020004" pitchFamily="2" charset="0"/>
              </a:defRPr>
            </a:lvl5pPr>
            <a:lvl6pPr marL="5029451" indent="-457223" algn="l" defTabSz="1828892" rtl="0" eaLnBrk="1" latinLnBrk="0" hangingPunct="1">
              <a:spcBef>
                <a:spcPct val="20000"/>
              </a:spcBef>
              <a:buFont typeface="Arial" panose="020B0604020202020204" pitchFamily="34" charset="0"/>
              <a:buChar char="•"/>
              <a:defRPr sz="3975" kern="1200">
                <a:solidFill>
                  <a:schemeClr val="tx1"/>
                </a:solidFill>
                <a:latin typeface="+mn-lt"/>
                <a:ea typeface="+mn-ea"/>
                <a:cs typeface="+mn-cs"/>
              </a:defRPr>
            </a:lvl6pPr>
            <a:lvl7pPr marL="5943897" indent="-457223" algn="l" defTabSz="1828892" rtl="0" eaLnBrk="1" latinLnBrk="0" hangingPunct="1">
              <a:spcBef>
                <a:spcPct val="20000"/>
              </a:spcBef>
              <a:buFont typeface="Arial" panose="020B0604020202020204" pitchFamily="34" charset="0"/>
              <a:buChar char="•"/>
              <a:defRPr sz="3975" kern="1200">
                <a:solidFill>
                  <a:schemeClr val="tx1"/>
                </a:solidFill>
                <a:latin typeface="+mn-lt"/>
                <a:ea typeface="+mn-ea"/>
                <a:cs typeface="+mn-cs"/>
              </a:defRPr>
            </a:lvl7pPr>
            <a:lvl8pPr marL="6858343" indent="-457223" algn="l" defTabSz="1828892" rtl="0" eaLnBrk="1" latinLnBrk="0" hangingPunct="1">
              <a:spcBef>
                <a:spcPct val="20000"/>
              </a:spcBef>
              <a:buFont typeface="Arial" panose="020B0604020202020204" pitchFamily="34" charset="0"/>
              <a:buChar char="•"/>
              <a:defRPr sz="3975" kern="1200">
                <a:solidFill>
                  <a:schemeClr val="tx1"/>
                </a:solidFill>
                <a:latin typeface="+mn-lt"/>
                <a:ea typeface="+mn-ea"/>
                <a:cs typeface="+mn-cs"/>
              </a:defRPr>
            </a:lvl8pPr>
            <a:lvl9pPr marL="7772789" indent="-457223" algn="l" defTabSz="1828892" rtl="0" eaLnBrk="1" latinLnBrk="0" hangingPunct="1">
              <a:spcBef>
                <a:spcPct val="20000"/>
              </a:spcBef>
              <a:buFont typeface="Arial" panose="020B0604020202020204" pitchFamily="34" charset="0"/>
              <a:buChar char="•"/>
              <a:defRPr sz="3975" kern="1200">
                <a:solidFill>
                  <a:schemeClr val="tx1"/>
                </a:solidFill>
                <a:latin typeface="+mn-lt"/>
                <a:ea typeface="+mn-ea"/>
                <a:cs typeface="+mn-cs"/>
              </a:defRPr>
            </a:lvl9pPr>
          </a:lstStyle>
          <a:p>
            <a:pPr algn="r" defTabSz="2110069" fontAlgn="base">
              <a:spcAft>
                <a:spcPct val="0"/>
              </a:spcAft>
              <a:defRPr/>
            </a:pPr>
            <a:endParaRPr kumimoji="0" lang="en-US" altLang="en-US" sz="1385" b="1" dirty="0">
              <a:solidFill>
                <a:srgbClr val="EA6060"/>
              </a:solidFill>
              <a:latin typeface="Calibri" panose="020F0502020204030204" pitchFamily="34" charset="0"/>
              <a:cs typeface="Calibri" panose="020F0502020204030204" pitchFamily="34" charset="0"/>
            </a:endParaRPr>
          </a:p>
          <a:p>
            <a:pPr algn="r" defTabSz="2110069" fontAlgn="base">
              <a:spcAft>
                <a:spcPct val="0"/>
              </a:spcAft>
              <a:defRPr/>
            </a:pPr>
            <a:endParaRPr kumimoji="0" lang="en-US" altLang="en-US" sz="1385" b="1" dirty="0">
              <a:solidFill>
                <a:srgbClr val="EA6060"/>
              </a:solidFill>
              <a:latin typeface="Calibri" panose="020F0502020204030204" pitchFamily="34" charset="0"/>
              <a:cs typeface="Calibri" panose="020F0502020204030204" pitchFamily="34" charset="0"/>
            </a:endParaRPr>
          </a:p>
          <a:p>
            <a:pPr algn="r" defTabSz="2110069" fontAlgn="base">
              <a:spcAft>
                <a:spcPct val="0"/>
              </a:spcAft>
              <a:defRPr/>
            </a:pPr>
            <a:endParaRPr kumimoji="0" lang="en-US" altLang="en-US" sz="1385" b="1" dirty="0">
              <a:solidFill>
                <a:srgbClr val="EA6060"/>
              </a:solidFill>
              <a:latin typeface="Calibri" panose="020F0502020204030204" pitchFamily="34" charset="0"/>
              <a:cs typeface="Calibri" panose="020F0502020204030204" pitchFamily="34" charset="0"/>
            </a:endParaRPr>
          </a:p>
          <a:p>
            <a:pPr algn="r" defTabSz="2110069" fontAlgn="base">
              <a:spcAft>
                <a:spcPct val="0"/>
              </a:spcAft>
              <a:defRPr/>
            </a:pPr>
            <a:endParaRPr kumimoji="0" lang="en-US" altLang="en-US" sz="1385" b="1" dirty="0">
              <a:solidFill>
                <a:srgbClr val="EA6060"/>
              </a:solidFill>
              <a:latin typeface="Calibri" panose="020F0502020204030204" pitchFamily="34" charset="0"/>
              <a:cs typeface="Calibri" panose="020F0502020204030204" pitchFamily="34" charset="0"/>
            </a:endParaRPr>
          </a:p>
          <a:p>
            <a:pPr algn="r" defTabSz="2110069" fontAlgn="base">
              <a:spcAft>
                <a:spcPct val="0"/>
              </a:spcAft>
              <a:defRPr/>
            </a:pPr>
            <a:endParaRPr kumimoji="0" lang="en-US" altLang="en-US" sz="1385" b="1" dirty="0">
              <a:solidFill>
                <a:srgbClr val="EA6060"/>
              </a:solidFill>
              <a:latin typeface="Calibri" panose="020F0502020204030204" pitchFamily="34" charset="0"/>
              <a:cs typeface="Calibri" panose="020F0502020204030204" pitchFamily="34" charset="0"/>
            </a:endParaRPr>
          </a:p>
          <a:p>
            <a:pPr algn="r" defTabSz="2110069" fontAlgn="base">
              <a:spcAft>
                <a:spcPct val="0"/>
              </a:spcAft>
              <a:defRPr/>
            </a:pPr>
            <a:r>
              <a:rPr kumimoji="0" lang="en-US" altLang="en-US" sz="1800" dirty="0">
                <a:solidFill>
                  <a:schemeClr val="tx1"/>
                </a:solidFill>
                <a:latin typeface="Calibri" panose="020F0502020204030204" pitchFamily="34" charset="0"/>
                <a:cs typeface="Calibri" panose="020F0502020204030204" pitchFamily="34" charset="0"/>
              </a:rPr>
              <a:t>If you are going to be modifying the original entities and saving them back or using them in a way that requires change tracking, choose </a:t>
            </a:r>
            <a:r>
              <a:rPr kumimoji="0" lang="en-US" altLang="en-US" sz="1800" dirty="0" err="1">
                <a:solidFill>
                  <a:schemeClr val="tx1"/>
                </a:solidFill>
                <a:latin typeface="Consolas" panose="020B0609020204030204" pitchFamily="49" charset="0"/>
                <a:cs typeface="Consolas" panose="020B0609020204030204" pitchFamily="49" charset="0"/>
              </a:rPr>
              <a:t>AsTracking</a:t>
            </a:r>
            <a:r>
              <a:rPr kumimoji="0" lang="en-US" altLang="en-US" sz="1800" dirty="0">
                <a:solidFill>
                  <a:schemeClr val="tx1"/>
                </a:solidFill>
                <a:latin typeface="Consolas" panose="020B0609020204030204" pitchFamily="49" charset="0"/>
                <a:cs typeface="Consolas" panose="020B0609020204030204" pitchFamily="49" charset="0"/>
              </a:rPr>
              <a:t>()</a:t>
            </a:r>
            <a:r>
              <a:rPr kumimoji="0" lang="en-US" altLang="en-US" sz="1800" dirty="0">
                <a:solidFill>
                  <a:schemeClr val="tx1"/>
                </a:solidFill>
                <a:latin typeface="Calibri" panose="020F0502020204030204" pitchFamily="34" charset="0"/>
                <a:cs typeface="Calibri" panose="020F0502020204030204" pitchFamily="34" charset="0"/>
              </a:rPr>
              <a:t>, even though there is slightly more query overhead </a:t>
            </a:r>
            <a:endParaRPr kumimoji="0" lang="ru-RU" altLang="en-US" sz="1800" dirty="0">
              <a:solidFill>
                <a:schemeClr val="tx1"/>
              </a:solidFill>
              <a:latin typeface="Calibri" panose="020F0502020204030204" pitchFamily="34" charset="0"/>
              <a:cs typeface="Calibri" panose="020F0502020204030204" pitchFamily="34" charset="0"/>
            </a:endParaRPr>
          </a:p>
        </p:txBody>
      </p:sp>
      <p:sp>
        <p:nvSpPr>
          <p:cNvPr id="22" name="Текст 11">
            <a:extLst>
              <a:ext uri="{FF2B5EF4-FFF2-40B4-BE49-F238E27FC236}">
                <a16:creationId xmlns:a16="http://schemas.microsoft.com/office/drawing/2014/main" id="{00703253-E83A-C24E-8FA2-36FA1D8E377E}"/>
              </a:ext>
            </a:extLst>
          </p:cNvPr>
          <p:cNvSpPr txBox="1">
            <a:spLocks/>
          </p:cNvSpPr>
          <p:nvPr/>
        </p:nvSpPr>
        <p:spPr bwMode="auto">
          <a:xfrm>
            <a:off x="609600" y="1852786"/>
            <a:ext cx="4481335" cy="397272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3987" indent="-293987" algn="l" defTabSz="783964" rtl="0" eaLnBrk="1" latinLnBrk="0" hangingPunct="1">
              <a:lnSpc>
                <a:spcPct val="90000"/>
              </a:lnSpc>
              <a:spcBef>
                <a:spcPct val="20000"/>
              </a:spcBef>
              <a:buClr>
                <a:srgbClr val="F9AB26"/>
              </a:buClr>
              <a:buSzPct val="70000"/>
              <a:buFont typeface="Wingdings" pitchFamily="2" charset="2"/>
              <a:buChar char="u"/>
              <a:defRPr sz="1600" kern="1200">
                <a:solidFill>
                  <a:schemeClr val="tx2"/>
                </a:solidFill>
                <a:latin typeface="+mn-lt"/>
                <a:ea typeface="+mn-ea"/>
                <a:cs typeface="+mn-cs"/>
              </a:defRPr>
            </a:lvl1pPr>
            <a:lvl2pPr marL="511175" indent="-166688" algn="l" defTabSz="783964" rtl="0" eaLnBrk="1" latinLnBrk="0" hangingPunct="1">
              <a:lnSpc>
                <a:spcPct val="90000"/>
              </a:lnSpc>
              <a:spcBef>
                <a:spcPct val="20000"/>
              </a:spcBef>
              <a:buClr>
                <a:srgbClr val="F9AB26"/>
              </a:buClr>
              <a:buSzPct val="50000"/>
              <a:buFont typeface="Wingdings" pitchFamily="2" charset="2"/>
              <a:buChar char=""/>
              <a:defRPr sz="1400" kern="1200">
                <a:solidFill>
                  <a:schemeClr val="tx2"/>
                </a:solidFill>
                <a:latin typeface="+mn-lt"/>
                <a:ea typeface="+mn-ea"/>
                <a:cs typeface="+mn-cs"/>
              </a:defRPr>
            </a:lvl2pPr>
            <a:lvl3pPr marL="747713" indent="-177800" algn="l" defTabSz="783964" rtl="0" eaLnBrk="1" latinLnBrk="0" hangingPunct="1">
              <a:lnSpc>
                <a:spcPct val="90000"/>
              </a:lnSpc>
              <a:spcBef>
                <a:spcPct val="20000"/>
              </a:spcBef>
              <a:buClr>
                <a:srgbClr val="F9AB26"/>
              </a:buClr>
              <a:buFont typeface="Arial" pitchFamily="34" charset="0"/>
              <a:buChar char="•"/>
              <a:defRPr sz="1300" kern="1200">
                <a:solidFill>
                  <a:schemeClr val="tx2"/>
                </a:solidFill>
                <a:latin typeface="+mn-lt"/>
                <a:ea typeface="+mn-ea"/>
                <a:cs typeface="+mn-cs"/>
              </a:defRPr>
            </a:lvl3pPr>
            <a:lvl4pPr marL="973138" indent="-177800" algn="l" defTabSz="783964" rtl="0" eaLnBrk="1" latinLnBrk="0" hangingPunct="1">
              <a:lnSpc>
                <a:spcPct val="90000"/>
              </a:lnSpc>
              <a:spcBef>
                <a:spcPct val="20000"/>
              </a:spcBef>
              <a:buClr>
                <a:srgbClr val="F9AB26"/>
              </a:buClr>
              <a:buFont typeface="Arial" pitchFamily="34" charset="0"/>
              <a:buChar char="–"/>
              <a:defRPr sz="1200" kern="1200">
                <a:solidFill>
                  <a:schemeClr val="tx2"/>
                </a:solidFill>
                <a:latin typeface="+mn-lt"/>
                <a:ea typeface="+mn-ea"/>
                <a:cs typeface="+mn-cs"/>
              </a:defRPr>
            </a:lvl4pPr>
            <a:lvl5pPr marL="1200150" indent="-166688" algn="l" defTabSz="783964" rtl="0" eaLnBrk="1" latinLnBrk="0" hangingPunct="1">
              <a:lnSpc>
                <a:spcPct val="90000"/>
              </a:lnSpc>
              <a:spcBef>
                <a:spcPct val="20000"/>
              </a:spcBef>
              <a:buClr>
                <a:srgbClr val="F9AB26"/>
              </a:buClr>
              <a:buFont typeface="Arial" pitchFamily="34" charset="0"/>
              <a:buChar char="»"/>
              <a:defRPr sz="1000" kern="1200">
                <a:solidFill>
                  <a:schemeClr val="tx2"/>
                </a:solidFill>
                <a:latin typeface="+mn-lt"/>
                <a:ea typeface="+mn-ea"/>
                <a:cs typeface="+mn-cs"/>
              </a:defRPr>
            </a:lvl5pPr>
            <a:lvl6pPr marL="2155898" indent="-195991" algn="l" defTabSz="783964"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47879" indent="-195991" algn="l" defTabSz="783964"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39862" indent="-195991" algn="l" defTabSz="783964"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31842" indent="-195991" algn="l" defTabSz="783964"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lnSpc>
                <a:spcPct val="150000"/>
              </a:lnSpc>
              <a:buNone/>
            </a:pPr>
            <a:r>
              <a:rPr lang="en-US" altLang="en-US" sz="1800" dirty="0">
                <a:solidFill>
                  <a:schemeClr val="tx1"/>
                </a:solidFill>
                <a:latin typeface="Calibri" panose="020F0502020204030204" pitchFamily="34" charset="0"/>
                <a:cs typeface="Calibri" panose="020F0502020204030204" pitchFamily="34" charset="0"/>
              </a:rPr>
              <a:t>If you are going to simply return the data or plan on using it to do data processing but are not making modifications to the original entities, choose </a:t>
            </a:r>
            <a:r>
              <a:rPr lang="en-US" altLang="en-US" sz="1800" dirty="0" err="1">
                <a:solidFill>
                  <a:schemeClr val="tx1"/>
                </a:solidFill>
                <a:latin typeface="Consolas" panose="020B0609020204030204" pitchFamily="49" charset="0"/>
                <a:cs typeface="Consolas" panose="020B0609020204030204" pitchFamily="49" charset="0"/>
              </a:rPr>
              <a:t>AsNoTracking</a:t>
            </a:r>
            <a:r>
              <a:rPr lang="en-US" altLang="en-US" sz="1800" dirty="0">
                <a:solidFill>
                  <a:schemeClr val="tx1"/>
                </a:solidFill>
                <a:latin typeface="Consolas" panose="020B0609020204030204" pitchFamily="49" charset="0"/>
                <a:cs typeface="Consolas" panose="020B0609020204030204" pitchFamily="49" charset="0"/>
              </a:rPr>
              <a:t>()</a:t>
            </a:r>
            <a:r>
              <a:rPr lang="en-US" altLang="en-US" sz="1800" dirty="0">
                <a:solidFill>
                  <a:schemeClr val="tx1"/>
                </a:solidFill>
                <a:latin typeface="Calibri" panose="020F0502020204030204" pitchFamily="34" charset="0"/>
                <a:cs typeface="Calibri" panose="020F0502020204030204" pitchFamily="34" charset="0"/>
              </a:rPr>
              <a:t> to reduce query overhead</a:t>
            </a:r>
          </a:p>
          <a:p>
            <a:pPr marL="0" indent="0">
              <a:lnSpc>
                <a:spcPct val="150000"/>
              </a:lnSpc>
              <a:buNone/>
            </a:pPr>
            <a:endParaRPr lang="ru-RU" altLang="en-US" sz="1385" dirty="0">
              <a:latin typeface="Calibri" panose="020F0502020204030204" pitchFamily="34" charset="0"/>
              <a:cs typeface="Calibri" panose="020F0502020204030204" pitchFamily="34" charset="0"/>
            </a:endParaRPr>
          </a:p>
        </p:txBody>
      </p:sp>
      <p:sp>
        <p:nvSpPr>
          <p:cNvPr id="23" name="Прямоугольник 1">
            <a:extLst>
              <a:ext uri="{FF2B5EF4-FFF2-40B4-BE49-F238E27FC236}">
                <a16:creationId xmlns:a16="http://schemas.microsoft.com/office/drawing/2014/main" id="{BF4693AC-2E2E-B64C-B8B0-912F794BF0F8}"/>
              </a:ext>
            </a:extLst>
          </p:cNvPr>
          <p:cNvSpPr>
            <a:spLocks noChangeArrowheads="1"/>
          </p:cNvSpPr>
          <p:nvPr/>
        </p:nvSpPr>
        <p:spPr bwMode="auto">
          <a:xfrm>
            <a:off x="3586987" y="4244580"/>
            <a:ext cx="184731"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sz="4800">
                <a:solidFill>
                  <a:schemeClr val="tx1"/>
                </a:solidFill>
                <a:latin typeface="Calibri" panose="020F0502020204030204" pitchFamily="34" charset="0"/>
                <a:cs typeface="Arial" panose="020B0604020202020204" pitchFamily="34" charset="0"/>
              </a:defRPr>
            </a:lvl1pPr>
            <a:lvl2pPr marL="742950" indent="-285750">
              <a:defRPr kumimoji="1" sz="4800">
                <a:solidFill>
                  <a:schemeClr val="tx1"/>
                </a:solidFill>
                <a:latin typeface="Calibri" panose="020F0502020204030204" pitchFamily="34" charset="0"/>
                <a:cs typeface="Arial" panose="020B0604020202020204" pitchFamily="34" charset="0"/>
              </a:defRPr>
            </a:lvl2pPr>
            <a:lvl3pPr marL="1143000" indent="-228600">
              <a:defRPr kumimoji="1" sz="4800">
                <a:solidFill>
                  <a:schemeClr val="tx1"/>
                </a:solidFill>
                <a:latin typeface="Calibri" panose="020F0502020204030204" pitchFamily="34" charset="0"/>
                <a:cs typeface="Arial" panose="020B0604020202020204" pitchFamily="34" charset="0"/>
              </a:defRPr>
            </a:lvl3pPr>
            <a:lvl4pPr marL="1600200" indent="-228600">
              <a:defRPr kumimoji="1" sz="4800">
                <a:solidFill>
                  <a:schemeClr val="tx1"/>
                </a:solidFill>
                <a:latin typeface="Calibri" panose="020F0502020204030204" pitchFamily="34" charset="0"/>
                <a:cs typeface="Arial" panose="020B0604020202020204" pitchFamily="34" charset="0"/>
              </a:defRPr>
            </a:lvl4pPr>
            <a:lvl5pPr marL="2057400" indent="-228600">
              <a:defRPr kumimoji="1" sz="4800">
                <a:solidFill>
                  <a:schemeClr val="tx1"/>
                </a:solidFill>
                <a:latin typeface="Calibri" panose="020F0502020204030204" pitchFamily="34" charset="0"/>
                <a:cs typeface="Arial" panose="020B0604020202020204" pitchFamily="34" charset="0"/>
              </a:defRPr>
            </a:lvl5pPr>
            <a:lvl6pPr marL="25146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6pPr>
            <a:lvl7pPr marL="29718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7pPr>
            <a:lvl8pPr marL="34290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8pPr>
            <a:lvl9pPr marL="38862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9pPr>
          </a:lstStyle>
          <a:p>
            <a:pPr defTabSz="2813426" fontAlgn="base">
              <a:spcBef>
                <a:spcPct val="0"/>
              </a:spcBef>
              <a:spcAft>
                <a:spcPct val="0"/>
              </a:spcAft>
            </a:pPr>
            <a:endParaRPr kumimoji="0" lang="en-US" altLang="en-US" sz="4400" b="1">
              <a:solidFill>
                <a:prstClr val="white"/>
              </a:solidFill>
              <a:cs typeface="Calibri" panose="020F0502020204030204" pitchFamily="34" charset="0"/>
            </a:endParaRPr>
          </a:p>
        </p:txBody>
      </p:sp>
      <p:sp>
        <p:nvSpPr>
          <p:cNvPr id="24" name="Прямоугольник 211">
            <a:extLst>
              <a:ext uri="{FF2B5EF4-FFF2-40B4-BE49-F238E27FC236}">
                <a16:creationId xmlns:a16="http://schemas.microsoft.com/office/drawing/2014/main" id="{A991C49F-2FF4-DE49-BF33-A1D93248D2C6}"/>
              </a:ext>
            </a:extLst>
          </p:cNvPr>
          <p:cNvSpPr>
            <a:spLocks noChangeArrowheads="1"/>
          </p:cNvSpPr>
          <p:nvPr/>
        </p:nvSpPr>
        <p:spPr bwMode="auto">
          <a:xfrm>
            <a:off x="7074149" y="2389610"/>
            <a:ext cx="3035190"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sz="4800">
                <a:solidFill>
                  <a:schemeClr val="tx1"/>
                </a:solidFill>
                <a:latin typeface="Calibri" panose="020F0502020204030204" pitchFamily="34" charset="0"/>
                <a:cs typeface="Arial" panose="020B0604020202020204" pitchFamily="34" charset="0"/>
              </a:defRPr>
            </a:lvl1pPr>
            <a:lvl2pPr marL="742950" indent="-285750">
              <a:defRPr kumimoji="1" sz="4800">
                <a:solidFill>
                  <a:schemeClr val="tx1"/>
                </a:solidFill>
                <a:latin typeface="Calibri" panose="020F0502020204030204" pitchFamily="34" charset="0"/>
                <a:cs typeface="Arial" panose="020B0604020202020204" pitchFamily="34" charset="0"/>
              </a:defRPr>
            </a:lvl2pPr>
            <a:lvl3pPr marL="1143000" indent="-228600">
              <a:defRPr kumimoji="1" sz="4800">
                <a:solidFill>
                  <a:schemeClr val="tx1"/>
                </a:solidFill>
                <a:latin typeface="Calibri" panose="020F0502020204030204" pitchFamily="34" charset="0"/>
                <a:cs typeface="Arial" panose="020B0604020202020204" pitchFamily="34" charset="0"/>
              </a:defRPr>
            </a:lvl3pPr>
            <a:lvl4pPr marL="1600200" indent="-228600">
              <a:defRPr kumimoji="1" sz="4800">
                <a:solidFill>
                  <a:schemeClr val="tx1"/>
                </a:solidFill>
                <a:latin typeface="Calibri" panose="020F0502020204030204" pitchFamily="34" charset="0"/>
                <a:cs typeface="Arial" panose="020B0604020202020204" pitchFamily="34" charset="0"/>
              </a:defRPr>
            </a:lvl4pPr>
            <a:lvl5pPr marL="2057400" indent="-228600">
              <a:defRPr kumimoji="1" sz="4800">
                <a:solidFill>
                  <a:schemeClr val="tx1"/>
                </a:solidFill>
                <a:latin typeface="Calibri" panose="020F0502020204030204" pitchFamily="34" charset="0"/>
                <a:cs typeface="Arial" panose="020B0604020202020204" pitchFamily="34" charset="0"/>
              </a:defRPr>
            </a:lvl5pPr>
            <a:lvl6pPr marL="25146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6pPr>
            <a:lvl7pPr marL="29718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7pPr>
            <a:lvl8pPr marL="34290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8pPr>
            <a:lvl9pPr marL="38862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9pPr>
          </a:lstStyle>
          <a:p>
            <a:pPr defTabSz="2813426" fontAlgn="base">
              <a:spcBef>
                <a:spcPct val="0"/>
              </a:spcBef>
              <a:spcAft>
                <a:spcPct val="0"/>
              </a:spcAft>
            </a:pPr>
            <a:r>
              <a:rPr kumimoji="0" lang="en-US" altLang="en-US" sz="4400" b="1" dirty="0" err="1">
                <a:solidFill>
                  <a:prstClr val="white"/>
                </a:solidFill>
                <a:cs typeface="Calibri" panose="020F0502020204030204" pitchFamily="34" charset="0"/>
              </a:rPr>
              <a:t>AsTracking</a:t>
            </a:r>
            <a:r>
              <a:rPr kumimoji="0" lang="en-US" altLang="en-US" sz="4400" b="1" dirty="0">
                <a:solidFill>
                  <a:prstClr val="white"/>
                </a:solidFill>
                <a:cs typeface="Calibri" panose="020F0502020204030204" pitchFamily="34" charset="0"/>
              </a:rPr>
              <a:t>()</a:t>
            </a:r>
          </a:p>
        </p:txBody>
      </p:sp>
      <p:sp>
        <p:nvSpPr>
          <p:cNvPr id="25" name="Прямоугольник 211">
            <a:extLst>
              <a:ext uri="{FF2B5EF4-FFF2-40B4-BE49-F238E27FC236}">
                <a16:creationId xmlns:a16="http://schemas.microsoft.com/office/drawing/2014/main" id="{5A2594E2-DB4B-3F4D-813C-6451106AFB3E}"/>
              </a:ext>
            </a:extLst>
          </p:cNvPr>
          <p:cNvSpPr>
            <a:spLocks noChangeArrowheads="1"/>
          </p:cNvSpPr>
          <p:nvPr/>
        </p:nvSpPr>
        <p:spPr bwMode="auto">
          <a:xfrm>
            <a:off x="1349410" y="4284774"/>
            <a:ext cx="3710055"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sz="4800">
                <a:solidFill>
                  <a:schemeClr val="tx1"/>
                </a:solidFill>
                <a:latin typeface="Calibri" panose="020F0502020204030204" pitchFamily="34" charset="0"/>
                <a:cs typeface="Arial" panose="020B0604020202020204" pitchFamily="34" charset="0"/>
              </a:defRPr>
            </a:lvl1pPr>
            <a:lvl2pPr marL="742950" indent="-285750">
              <a:defRPr kumimoji="1" sz="4800">
                <a:solidFill>
                  <a:schemeClr val="tx1"/>
                </a:solidFill>
                <a:latin typeface="Calibri" panose="020F0502020204030204" pitchFamily="34" charset="0"/>
                <a:cs typeface="Arial" panose="020B0604020202020204" pitchFamily="34" charset="0"/>
              </a:defRPr>
            </a:lvl2pPr>
            <a:lvl3pPr marL="1143000" indent="-228600">
              <a:defRPr kumimoji="1" sz="4800">
                <a:solidFill>
                  <a:schemeClr val="tx1"/>
                </a:solidFill>
                <a:latin typeface="Calibri" panose="020F0502020204030204" pitchFamily="34" charset="0"/>
                <a:cs typeface="Arial" panose="020B0604020202020204" pitchFamily="34" charset="0"/>
              </a:defRPr>
            </a:lvl3pPr>
            <a:lvl4pPr marL="1600200" indent="-228600">
              <a:defRPr kumimoji="1" sz="4800">
                <a:solidFill>
                  <a:schemeClr val="tx1"/>
                </a:solidFill>
                <a:latin typeface="Calibri" panose="020F0502020204030204" pitchFamily="34" charset="0"/>
                <a:cs typeface="Arial" panose="020B0604020202020204" pitchFamily="34" charset="0"/>
              </a:defRPr>
            </a:lvl4pPr>
            <a:lvl5pPr marL="2057400" indent="-228600">
              <a:defRPr kumimoji="1" sz="4800">
                <a:solidFill>
                  <a:schemeClr val="tx1"/>
                </a:solidFill>
                <a:latin typeface="Calibri" panose="020F0502020204030204" pitchFamily="34" charset="0"/>
                <a:cs typeface="Arial" panose="020B0604020202020204" pitchFamily="34" charset="0"/>
              </a:defRPr>
            </a:lvl5pPr>
            <a:lvl6pPr marL="25146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6pPr>
            <a:lvl7pPr marL="29718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7pPr>
            <a:lvl8pPr marL="34290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8pPr>
            <a:lvl9pPr marL="38862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9pPr>
          </a:lstStyle>
          <a:p>
            <a:pPr defTabSz="2813426" fontAlgn="base">
              <a:spcBef>
                <a:spcPct val="0"/>
              </a:spcBef>
              <a:spcAft>
                <a:spcPct val="0"/>
              </a:spcAft>
            </a:pPr>
            <a:r>
              <a:rPr kumimoji="0" lang="en-US" altLang="en-US" sz="4400" b="1" dirty="0" err="1">
                <a:solidFill>
                  <a:prstClr val="white"/>
                </a:solidFill>
                <a:cs typeface="Calibri" panose="020F0502020204030204" pitchFamily="34" charset="0"/>
              </a:rPr>
              <a:t>AsNoTracking</a:t>
            </a:r>
            <a:r>
              <a:rPr kumimoji="0" lang="en-US" altLang="en-US" sz="4400" b="1" dirty="0">
                <a:solidFill>
                  <a:prstClr val="white"/>
                </a:solidFill>
                <a:cs typeface="Calibri" panose="020F0502020204030204" pitchFamily="34" charset="0"/>
              </a:rPr>
              <a:t>()</a:t>
            </a:r>
          </a:p>
        </p:txBody>
      </p:sp>
    </p:spTree>
    <p:extLst>
      <p:ext uri="{BB962C8B-B14F-4D97-AF65-F5344CB8AC3E}">
        <p14:creationId xmlns:p14="http://schemas.microsoft.com/office/powerpoint/2010/main" val="24369230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91C7D-9A0F-5D4C-88A9-E6C584E43ADE}"/>
              </a:ext>
            </a:extLst>
          </p:cNvPr>
          <p:cNvSpPr>
            <a:spLocks noGrp="1"/>
          </p:cNvSpPr>
          <p:nvPr>
            <p:ph type="title"/>
          </p:nvPr>
        </p:nvSpPr>
        <p:spPr/>
        <p:txBody>
          <a:bodyPr/>
          <a:lstStyle/>
          <a:p>
            <a:r>
              <a:rPr lang="en-US" sz="4400" dirty="0"/>
              <a:t>Updates and Deletes – It Is What It Is</a:t>
            </a:r>
          </a:p>
        </p:txBody>
      </p:sp>
      <p:sp>
        <p:nvSpPr>
          <p:cNvPr id="3" name="Content Placeholder 2">
            <a:extLst>
              <a:ext uri="{FF2B5EF4-FFF2-40B4-BE49-F238E27FC236}">
                <a16:creationId xmlns:a16="http://schemas.microsoft.com/office/drawing/2014/main" id="{95C97004-8A8D-FD46-B074-C70B084B108D}"/>
              </a:ext>
            </a:extLst>
          </p:cNvPr>
          <p:cNvSpPr>
            <a:spLocks noGrp="1"/>
          </p:cNvSpPr>
          <p:nvPr>
            <p:ph idx="1"/>
          </p:nvPr>
        </p:nvSpPr>
        <p:spPr/>
        <p:txBody>
          <a:bodyPr/>
          <a:lstStyle/>
          <a:p>
            <a:pPr marL="0" indent="0">
              <a:buNone/>
            </a:pPr>
            <a:r>
              <a:rPr lang="en-US" sz="2800" dirty="0"/>
              <a:t>Unlike the Insert statement, Updates and Deletes always happen as single statements. Changing the Max Batch Size only limits how many are sent to the database at once</a:t>
            </a:r>
          </a:p>
        </p:txBody>
      </p:sp>
      <p:sp>
        <p:nvSpPr>
          <p:cNvPr id="4" name="Text Placeholder 3">
            <a:extLst>
              <a:ext uri="{FF2B5EF4-FFF2-40B4-BE49-F238E27FC236}">
                <a16:creationId xmlns:a16="http://schemas.microsoft.com/office/drawing/2014/main" id="{74234E94-72A8-0E43-8DD7-9690B37322E1}"/>
              </a:ext>
            </a:extLst>
          </p:cNvPr>
          <p:cNvSpPr>
            <a:spLocks noGrp="1"/>
          </p:cNvSpPr>
          <p:nvPr>
            <p:ph type="body" sz="quarter" idx="13"/>
          </p:nvPr>
        </p:nvSpPr>
        <p:spPr/>
        <p:txBody>
          <a:bodyPr/>
          <a:lstStyle/>
          <a:p>
            <a:r>
              <a:rPr lang="en-US" dirty="0"/>
              <a:t>ACCESS PATTERNS</a:t>
            </a:r>
          </a:p>
        </p:txBody>
      </p:sp>
      <p:sp>
        <p:nvSpPr>
          <p:cNvPr id="5" name="Slide Number Placeholder 4">
            <a:extLst>
              <a:ext uri="{FF2B5EF4-FFF2-40B4-BE49-F238E27FC236}">
                <a16:creationId xmlns:a16="http://schemas.microsoft.com/office/drawing/2014/main" id="{88F9EB87-822D-2F49-9AD0-3E361D3AA72A}"/>
              </a:ext>
            </a:extLst>
          </p:cNvPr>
          <p:cNvSpPr>
            <a:spLocks noGrp="1"/>
          </p:cNvSpPr>
          <p:nvPr>
            <p:ph type="sldNum" sz="quarter" idx="4"/>
          </p:nvPr>
        </p:nvSpPr>
        <p:spPr/>
        <p:txBody>
          <a:bodyPr/>
          <a:lstStyle/>
          <a:p>
            <a:fld id="{E1123682-AE52-6D45-865E-F1EB3AE0E340}" type="slidenum">
              <a:rPr lang="en-US" smtClean="0"/>
              <a:pPr/>
              <a:t>16</a:t>
            </a:fld>
            <a:endParaRPr lang="en-US" dirty="0"/>
          </a:p>
        </p:txBody>
      </p:sp>
      <p:pic>
        <p:nvPicPr>
          <p:cNvPr id="9" name="Picture 8" descr="Graphical user interface, text&#10;&#10;Description automatically generated with medium confidence">
            <a:extLst>
              <a:ext uri="{FF2B5EF4-FFF2-40B4-BE49-F238E27FC236}">
                <a16:creationId xmlns:a16="http://schemas.microsoft.com/office/drawing/2014/main" id="{746827D0-0C16-284E-A077-527806A37126}"/>
              </a:ext>
            </a:extLst>
          </p:cNvPr>
          <p:cNvPicPr>
            <a:picLocks noChangeAspect="1"/>
          </p:cNvPicPr>
          <p:nvPr/>
        </p:nvPicPr>
        <p:blipFill>
          <a:blip r:embed="rId2"/>
          <a:stretch>
            <a:fillRect/>
          </a:stretch>
        </p:blipFill>
        <p:spPr>
          <a:xfrm>
            <a:off x="3162300" y="2816716"/>
            <a:ext cx="5867400" cy="1714500"/>
          </a:xfrm>
          <a:prstGeom prst="rect">
            <a:avLst/>
          </a:prstGeom>
        </p:spPr>
      </p:pic>
      <p:pic>
        <p:nvPicPr>
          <p:cNvPr id="8" name="Picture 7" descr="A screenshot of a computer&#10;&#10;Description automatically generated">
            <a:extLst>
              <a:ext uri="{FF2B5EF4-FFF2-40B4-BE49-F238E27FC236}">
                <a16:creationId xmlns:a16="http://schemas.microsoft.com/office/drawing/2014/main" id="{0C31BC00-1E74-764E-B3E5-F5D2E898D8AA}"/>
              </a:ext>
            </a:extLst>
          </p:cNvPr>
          <p:cNvPicPr>
            <a:picLocks noChangeAspect="1"/>
          </p:cNvPicPr>
          <p:nvPr/>
        </p:nvPicPr>
        <p:blipFill>
          <a:blip r:embed="rId3"/>
          <a:stretch>
            <a:fillRect/>
          </a:stretch>
        </p:blipFill>
        <p:spPr>
          <a:xfrm>
            <a:off x="3162301" y="4610403"/>
            <a:ext cx="5867400" cy="1691717"/>
          </a:xfrm>
          <a:prstGeom prst="rect">
            <a:avLst/>
          </a:prstGeom>
        </p:spPr>
      </p:pic>
    </p:spTree>
    <p:extLst>
      <p:ext uri="{BB962C8B-B14F-4D97-AF65-F5344CB8AC3E}">
        <p14:creationId xmlns:p14="http://schemas.microsoft.com/office/powerpoint/2010/main" val="21413737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875C761-D88F-1C48-9450-C1E4FEE7EE44}"/>
              </a:ext>
            </a:extLst>
          </p:cNvPr>
          <p:cNvSpPr>
            <a:spLocks noGrp="1"/>
          </p:cNvSpPr>
          <p:nvPr>
            <p:ph type="body" sz="quarter" idx="10"/>
          </p:nvPr>
        </p:nvSpPr>
        <p:spPr/>
        <p:txBody>
          <a:bodyPr/>
          <a:lstStyle/>
          <a:p>
            <a:r>
              <a:rPr lang="en-US" i="1" dirty="0"/>
              <a:t>WARNING! </a:t>
            </a:r>
            <a:r>
              <a:rPr lang="en-US" dirty="0"/>
              <a:t>– Easy Ways to Shoot Yourself in the Foot</a:t>
            </a:r>
          </a:p>
        </p:txBody>
      </p:sp>
      <p:sp>
        <p:nvSpPr>
          <p:cNvPr id="5" name="Slide Number Placeholder 4">
            <a:extLst>
              <a:ext uri="{FF2B5EF4-FFF2-40B4-BE49-F238E27FC236}">
                <a16:creationId xmlns:a16="http://schemas.microsoft.com/office/drawing/2014/main" id="{E15DC5CA-1A15-1B46-9646-8193C327A4C4}"/>
              </a:ext>
            </a:extLst>
          </p:cNvPr>
          <p:cNvSpPr>
            <a:spLocks noGrp="1"/>
          </p:cNvSpPr>
          <p:nvPr>
            <p:ph type="sldNum" sz="quarter" idx="4"/>
          </p:nvPr>
        </p:nvSpPr>
        <p:spPr/>
        <p:txBody>
          <a:bodyPr/>
          <a:lstStyle/>
          <a:p>
            <a:fld id="{E1123682-AE52-6D45-865E-F1EB3AE0E340}" type="slidenum">
              <a:rPr lang="en-US" smtClean="0"/>
              <a:pPr/>
              <a:t>17</a:t>
            </a:fld>
            <a:endParaRPr lang="en-US" dirty="0"/>
          </a:p>
        </p:txBody>
      </p:sp>
    </p:spTree>
    <p:extLst>
      <p:ext uri="{BB962C8B-B14F-4D97-AF65-F5344CB8AC3E}">
        <p14:creationId xmlns:p14="http://schemas.microsoft.com/office/powerpoint/2010/main" val="9298958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653600-C353-C34B-8E45-045847520883}"/>
              </a:ext>
            </a:extLst>
          </p:cNvPr>
          <p:cNvSpPr>
            <a:spLocks noGrp="1"/>
          </p:cNvSpPr>
          <p:nvPr>
            <p:ph type="title"/>
          </p:nvPr>
        </p:nvSpPr>
        <p:spPr/>
        <p:txBody>
          <a:bodyPr/>
          <a:lstStyle/>
          <a:p>
            <a:r>
              <a:rPr lang="en-US" sz="4400" dirty="0"/>
              <a:t>We Have Already Seen Some</a:t>
            </a:r>
          </a:p>
        </p:txBody>
      </p:sp>
      <p:sp>
        <p:nvSpPr>
          <p:cNvPr id="5" name="Text Placeholder 4">
            <a:extLst>
              <a:ext uri="{FF2B5EF4-FFF2-40B4-BE49-F238E27FC236}">
                <a16:creationId xmlns:a16="http://schemas.microsoft.com/office/drawing/2014/main" id="{B73A7304-4762-7942-BD50-C08D8CF0CCD9}"/>
              </a:ext>
            </a:extLst>
          </p:cNvPr>
          <p:cNvSpPr>
            <a:spLocks noGrp="1"/>
          </p:cNvSpPr>
          <p:nvPr>
            <p:ph type="body" sz="quarter" idx="13"/>
          </p:nvPr>
        </p:nvSpPr>
        <p:spPr/>
        <p:txBody>
          <a:bodyPr/>
          <a:lstStyle/>
          <a:p>
            <a:r>
              <a:rPr lang="en-US" dirty="0"/>
              <a:t>WARNING!</a:t>
            </a:r>
          </a:p>
        </p:txBody>
      </p:sp>
      <p:sp>
        <p:nvSpPr>
          <p:cNvPr id="3" name="Slide Number Placeholder 2">
            <a:extLst>
              <a:ext uri="{FF2B5EF4-FFF2-40B4-BE49-F238E27FC236}">
                <a16:creationId xmlns:a16="http://schemas.microsoft.com/office/drawing/2014/main" id="{D1F227C6-B248-814B-9E82-F9E2BFBC0393}"/>
              </a:ext>
            </a:extLst>
          </p:cNvPr>
          <p:cNvSpPr>
            <a:spLocks noGrp="1"/>
          </p:cNvSpPr>
          <p:nvPr>
            <p:ph type="sldNum" sz="quarter" idx="4"/>
          </p:nvPr>
        </p:nvSpPr>
        <p:spPr/>
        <p:txBody>
          <a:bodyPr/>
          <a:lstStyle/>
          <a:p>
            <a:fld id="{E1123682-AE52-6D45-865E-F1EB3AE0E340}" type="slidenum">
              <a:rPr lang="en-US" smtClean="0"/>
              <a:pPr/>
              <a:t>18</a:t>
            </a:fld>
            <a:endParaRPr lang="en-US" dirty="0"/>
          </a:p>
        </p:txBody>
      </p:sp>
      <p:sp>
        <p:nvSpPr>
          <p:cNvPr id="6" name="Rectangle 3">
            <a:extLst>
              <a:ext uri="{FF2B5EF4-FFF2-40B4-BE49-F238E27FC236}">
                <a16:creationId xmlns:a16="http://schemas.microsoft.com/office/drawing/2014/main" id="{971B4156-6FE5-CF45-BC3F-CE05C031FE0C}"/>
              </a:ext>
            </a:extLst>
          </p:cNvPr>
          <p:cNvSpPr>
            <a:spLocks noChangeArrowheads="1"/>
          </p:cNvSpPr>
          <p:nvPr/>
        </p:nvSpPr>
        <p:spPr bwMode="auto">
          <a:xfrm>
            <a:off x="1284850" y="2798801"/>
            <a:ext cx="10297550" cy="1051560"/>
          </a:xfrm>
          <a:prstGeom prst="rect">
            <a:avLst/>
          </a:prstGeom>
          <a:ln>
            <a:solidFill>
              <a:schemeClr val="bg2"/>
            </a:solidFill>
            <a:miter lim="800000"/>
          </a:ln>
        </p:spPr>
        <p:style>
          <a:lnRef idx="2">
            <a:schemeClr val="accent1"/>
          </a:lnRef>
          <a:fillRef idx="1">
            <a:schemeClr val="lt1"/>
          </a:fillRef>
          <a:effectRef idx="0">
            <a:schemeClr val="accent1"/>
          </a:effectRef>
          <a:fontRef idx="minor">
            <a:schemeClr val="dk1"/>
          </a:fontRef>
        </p:style>
        <p:txBody>
          <a:bodyPr tIns="105508" bIns="105508" anchor="ctr"/>
          <a:lstStyle/>
          <a:p>
            <a:pPr defTabSz="904538">
              <a:lnSpc>
                <a:spcPct val="90000"/>
              </a:lnSpc>
              <a:spcBef>
                <a:spcPct val="20000"/>
              </a:spcBef>
              <a:buClr>
                <a:srgbClr val="F9AB26"/>
              </a:buClr>
              <a:buSzPct val="70000"/>
            </a:pPr>
            <a:r>
              <a:rPr lang="en-US" sz="2800" dirty="0">
                <a:solidFill>
                  <a:schemeClr val="tx1"/>
                </a:solidFill>
              </a:rPr>
              <a:t>Lazy Loading Entities</a:t>
            </a:r>
          </a:p>
        </p:txBody>
      </p:sp>
      <p:sp>
        <p:nvSpPr>
          <p:cNvPr id="7" name="Rectangle 4">
            <a:extLst>
              <a:ext uri="{FF2B5EF4-FFF2-40B4-BE49-F238E27FC236}">
                <a16:creationId xmlns:a16="http://schemas.microsoft.com/office/drawing/2014/main" id="{9DCF3BB9-F173-9D43-81CF-FA870DAAE5A1}"/>
              </a:ext>
            </a:extLst>
          </p:cNvPr>
          <p:cNvSpPr>
            <a:spLocks noChangeArrowheads="1"/>
          </p:cNvSpPr>
          <p:nvPr/>
        </p:nvSpPr>
        <p:spPr bwMode="auto">
          <a:xfrm>
            <a:off x="609600" y="2798801"/>
            <a:ext cx="675249" cy="1051560"/>
          </a:xfrm>
          <a:prstGeom prst="rect">
            <a:avLst/>
          </a:prstGeom>
          <a:solidFill>
            <a:schemeClr val="bg2"/>
          </a:solidFill>
          <a:ln>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tIns="105508" bIns="105508" anchor="ctr"/>
          <a:lstStyle/>
          <a:p>
            <a:pPr algn="ctr" eaLnBrk="0" hangingPunct="0"/>
            <a:r>
              <a:rPr lang="en-US" sz="3200" b="1">
                <a:solidFill>
                  <a:srgbClr val="FFFFFF"/>
                </a:solidFill>
              </a:rPr>
              <a:t>2</a:t>
            </a:r>
          </a:p>
        </p:txBody>
      </p:sp>
      <p:sp>
        <p:nvSpPr>
          <p:cNvPr id="8" name="Rectangle 5">
            <a:extLst>
              <a:ext uri="{FF2B5EF4-FFF2-40B4-BE49-F238E27FC236}">
                <a16:creationId xmlns:a16="http://schemas.microsoft.com/office/drawing/2014/main" id="{C6524674-532F-0246-82B8-A4A459AF7EC8}"/>
              </a:ext>
            </a:extLst>
          </p:cNvPr>
          <p:cNvSpPr>
            <a:spLocks noChangeArrowheads="1"/>
          </p:cNvSpPr>
          <p:nvPr/>
        </p:nvSpPr>
        <p:spPr bwMode="auto">
          <a:xfrm>
            <a:off x="1284850" y="3951683"/>
            <a:ext cx="10297550" cy="1051560"/>
          </a:xfrm>
          <a:prstGeom prst="rect">
            <a:avLst/>
          </a:prstGeom>
          <a:ln>
            <a:solidFill>
              <a:schemeClr val="bg2"/>
            </a:solidFill>
            <a:miter lim="800000"/>
          </a:ln>
        </p:spPr>
        <p:style>
          <a:lnRef idx="2">
            <a:schemeClr val="accent1"/>
          </a:lnRef>
          <a:fillRef idx="1">
            <a:schemeClr val="lt1"/>
          </a:fillRef>
          <a:effectRef idx="0">
            <a:schemeClr val="accent1"/>
          </a:effectRef>
          <a:fontRef idx="minor">
            <a:schemeClr val="dk1"/>
          </a:fontRef>
        </p:style>
        <p:txBody>
          <a:bodyPr tIns="105508" bIns="105508" anchor="ctr"/>
          <a:lstStyle/>
          <a:p>
            <a:pPr defTabSz="904538">
              <a:lnSpc>
                <a:spcPct val="90000"/>
              </a:lnSpc>
              <a:spcBef>
                <a:spcPct val="20000"/>
              </a:spcBef>
              <a:buClr>
                <a:srgbClr val="F9AB26"/>
              </a:buClr>
              <a:buSzPct val="70000"/>
            </a:pPr>
            <a:r>
              <a:rPr lang="en-US" sz="2800" dirty="0">
                <a:solidFill>
                  <a:schemeClr val="tx1"/>
                </a:solidFill>
              </a:rPr>
              <a:t>Using Tracking for Read Only Scenarios</a:t>
            </a:r>
          </a:p>
        </p:txBody>
      </p:sp>
      <p:sp>
        <p:nvSpPr>
          <p:cNvPr id="9" name="Rectangle 6">
            <a:extLst>
              <a:ext uri="{FF2B5EF4-FFF2-40B4-BE49-F238E27FC236}">
                <a16:creationId xmlns:a16="http://schemas.microsoft.com/office/drawing/2014/main" id="{ED77D263-2289-934E-A5D4-D0B7A696FFEF}"/>
              </a:ext>
            </a:extLst>
          </p:cNvPr>
          <p:cNvSpPr>
            <a:spLocks noChangeArrowheads="1"/>
          </p:cNvSpPr>
          <p:nvPr/>
        </p:nvSpPr>
        <p:spPr bwMode="auto">
          <a:xfrm>
            <a:off x="609600" y="3951683"/>
            <a:ext cx="675249" cy="1051560"/>
          </a:xfrm>
          <a:prstGeom prst="rect">
            <a:avLst/>
          </a:prstGeom>
          <a:solidFill>
            <a:schemeClr val="bg2"/>
          </a:solidFill>
          <a:ln>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tIns="105508" bIns="105508" anchor="ctr"/>
          <a:lstStyle/>
          <a:p>
            <a:pPr algn="ctr" eaLnBrk="0" hangingPunct="0"/>
            <a:r>
              <a:rPr lang="en-US" sz="3200" b="1">
                <a:solidFill>
                  <a:srgbClr val="FFFFFF"/>
                </a:solidFill>
              </a:rPr>
              <a:t>3</a:t>
            </a:r>
          </a:p>
        </p:txBody>
      </p:sp>
      <p:sp>
        <p:nvSpPr>
          <p:cNvPr id="10" name="Rectangle 7">
            <a:extLst>
              <a:ext uri="{FF2B5EF4-FFF2-40B4-BE49-F238E27FC236}">
                <a16:creationId xmlns:a16="http://schemas.microsoft.com/office/drawing/2014/main" id="{8387AFEA-C635-D147-9AB2-37504E4E9656}"/>
              </a:ext>
            </a:extLst>
          </p:cNvPr>
          <p:cNvSpPr>
            <a:spLocks noChangeArrowheads="1"/>
          </p:cNvSpPr>
          <p:nvPr/>
        </p:nvSpPr>
        <p:spPr bwMode="auto">
          <a:xfrm>
            <a:off x="1284850" y="5104564"/>
            <a:ext cx="10297550" cy="1051560"/>
          </a:xfrm>
          <a:prstGeom prst="rect">
            <a:avLst/>
          </a:prstGeom>
          <a:ln>
            <a:solidFill>
              <a:schemeClr val="bg2"/>
            </a:solidFill>
            <a:miter lim="800000"/>
          </a:ln>
        </p:spPr>
        <p:style>
          <a:lnRef idx="2">
            <a:schemeClr val="accent1"/>
          </a:lnRef>
          <a:fillRef idx="1">
            <a:schemeClr val="lt1"/>
          </a:fillRef>
          <a:effectRef idx="0">
            <a:schemeClr val="accent1"/>
          </a:effectRef>
          <a:fontRef idx="minor">
            <a:schemeClr val="dk1"/>
          </a:fontRef>
        </p:style>
        <p:txBody>
          <a:bodyPr tIns="105508" bIns="105508" anchor="ctr"/>
          <a:lstStyle/>
          <a:p>
            <a:pPr defTabSz="904538">
              <a:lnSpc>
                <a:spcPct val="90000"/>
              </a:lnSpc>
              <a:spcBef>
                <a:spcPct val="20000"/>
              </a:spcBef>
              <a:buClr>
                <a:srgbClr val="F9AB26"/>
              </a:buClr>
              <a:buSzPct val="70000"/>
            </a:pPr>
            <a:r>
              <a:rPr lang="en-US" sz="2800" dirty="0">
                <a:solidFill>
                  <a:schemeClr val="tx1"/>
                </a:solidFill>
              </a:rPr>
              <a:t>Forgetting to Implement a Retry Policy</a:t>
            </a:r>
          </a:p>
        </p:txBody>
      </p:sp>
      <p:sp>
        <p:nvSpPr>
          <p:cNvPr id="11" name="Rectangle 8">
            <a:extLst>
              <a:ext uri="{FF2B5EF4-FFF2-40B4-BE49-F238E27FC236}">
                <a16:creationId xmlns:a16="http://schemas.microsoft.com/office/drawing/2014/main" id="{3440D1FD-5FB4-1E4A-812F-F7D1214782D7}"/>
              </a:ext>
            </a:extLst>
          </p:cNvPr>
          <p:cNvSpPr>
            <a:spLocks noChangeArrowheads="1"/>
          </p:cNvSpPr>
          <p:nvPr/>
        </p:nvSpPr>
        <p:spPr bwMode="auto">
          <a:xfrm>
            <a:off x="609600" y="5104564"/>
            <a:ext cx="675249" cy="1051560"/>
          </a:xfrm>
          <a:prstGeom prst="rect">
            <a:avLst/>
          </a:prstGeom>
          <a:solidFill>
            <a:schemeClr val="bg2"/>
          </a:solidFill>
          <a:ln>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tIns="105508" bIns="105508" anchor="ctr"/>
          <a:lstStyle/>
          <a:p>
            <a:pPr algn="ctr" eaLnBrk="0" hangingPunct="0"/>
            <a:r>
              <a:rPr lang="en-US" sz="3200" b="1" dirty="0">
                <a:solidFill>
                  <a:srgbClr val="FFFFFF"/>
                </a:solidFill>
              </a:rPr>
              <a:t>4</a:t>
            </a:r>
          </a:p>
        </p:txBody>
      </p:sp>
      <p:sp>
        <p:nvSpPr>
          <p:cNvPr id="16" name="Rectangle 15">
            <a:extLst>
              <a:ext uri="{FF2B5EF4-FFF2-40B4-BE49-F238E27FC236}">
                <a16:creationId xmlns:a16="http://schemas.microsoft.com/office/drawing/2014/main" id="{524CD5E2-C074-2A4F-B81A-E9FAC8B04211}"/>
              </a:ext>
            </a:extLst>
          </p:cNvPr>
          <p:cNvSpPr>
            <a:spLocks noChangeArrowheads="1"/>
          </p:cNvSpPr>
          <p:nvPr/>
        </p:nvSpPr>
        <p:spPr bwMode="auto">
          <a:xfrm>
            <a:off x="1284850" y="1645919"/>
            <a:ext cx="10297550" cy="1051560"/>
          </a:xfrm>
          <a:prstGeom prst="rect">
            <a:avLst/>
          </a:prstGeom>
          <a:ln>
            <a:solidFill>
              <a:schemeClr val="bg2"/>
            </a:solidFill>
            <a:miter lim="800000"/>
          </a:ln>
        </p:spPr>
        <p:style>
          <a:lnRef idx="2">
            <a:schemeClr val="accent1"/>
          </a:lnRef>
          <a:fillRef idx="1">
            <a:schemeClr val="lt1"/>
          </a:fillRef>
          <a:effectRef idx="0">
            <a:schemeClr val="accent1"/>
          </a:effectRef>
          <a:fontRef idx="minor">
            <a:schemeClr val="dk1"/>
          </a:fontRef>
        </p:style>
        <p:txBody>
          <a:bodyPr tIns="105508" bIns="105508" anchor="ctr"/>
          <a:lstStyle/>
          <a:p>
            <a:pPr defTabSz="904538">
              <a:lnSpc>
                <a:spcPct val="90000"/>
              </a:lnSpc>
              <a:spcBef>
                <a:spcPct val="20000"/>
              </a:spcBef>
              <a:buClr>
                <a:srgbClr val="F9AB26"/>
              </a:buClr>
              <a:buSzPct val="70000"/>
            </a:pPr>
            <a:r>
              <a:rPr lang="en-US" sz="2800" dirty="0">
                <a:solidFill>
                  <a:schemeClr val="tx1"/>
                </a:solidFill>
              </a:rPr>
              <a:t>Bulk Manipulation of Data</a:t>
            </a:r>
          </a:p>
        </p:txBody>
      </p:sp>
      <p:sp>
        <p:nvSpPr>
          <p:cNvPr id="17" name="Rectangle 16">
            <a:extLst>
              <a:ext uri="{FF2B5EF4-FFF2-40B4-BE49-F238E27FC236}">
                <a16:creationId xmlns:a16="http://schemas.microsoft.com/office/drawing/2014/main" id="{30AADDF2-6632-6343-8946-3B23F72EE4E7}"/>
              </a:ext>
            </a:extLst>
          </p:cNvPr>
          <p:cNvSpPr>
            <a:spLocks noChangeArrowheads="1"/>
          </p:cNvSpPr>
          <p:nvPr/>
        </p:nvSpPr>
        <p:spPr bwMode="auto">
          <a:xfrm>
            <a:off x="609600" y="1645919"/>
            <a:ext cx="675249" cy="1051560"/>
          </a:xfrm>
          <a:prstGeom prst="rect">
            <a:avLst/>
          </a:prstGeom>
          <a:solidFill>
            <a:schemeClr val="bg2"/>
          </a:solidFill>
          <a:ln>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tIns="105508" bIns="105508" anchor="ctr"/>
          <a:lstStyle/>
          <a:p>
            <a:pPr algn="ctr" eaLnBrk="0" hangingPunct="0"/>
            <a:r>
              <a:rPr lang="en-US" sz="3200" b="1">
                <a:solidFill>
                  <a:srgbClr val="FFFFFF"/>
                </a:solidFill>
              </a:rPr>
              <a:t>1</a:t>
            </a:r>
          </a:p>
        </p:txBody>
      </p:sp>
    </p:spTree>
    <p:extLst>
      <p:ext uri="{BB962C8B-B14F-4D97-AF65-F5344CB8AC3E}">
        <p14:creationId xmlns:p14="http://schemas.microsoft.com/office/powerpoint/2010/main" val="6531517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64E35-D3AC-E74E-B28D-150B7F841BC7}"/>
              </a:ext>
            </a:extLst>
          </p:cNvPr>
          <p:cNvSpPr>
            <a:spLocks noGrp="1"/>
          </p:cNvSpPr>
          <p:nvPr>
            <p:ph type="title"/>
          </p:nvPr>
        </p:nvSpPr>
        <p:spPr/>
        <p:txBody>
          <a:bodyPr/>
          <a:lstStyle/>
          <a:p>
            <a:r>
              <a:rPr lang="en-US" sz="4400" dirty="0"/>
              <a:t>Other Ways to Destroy Performance</a:t>
            </a:r>
          </a:p>
        </p:txBody>
      </p:sp>
      <p:sp>
        <p:nvSpPr>
          <p:cNvPr id="3" name="Text Placeholder 2">
            <a:extLst>
              <a:ext uri="{FF2B5EF4-FFF2-40B4-BE49-F238E27FC236}">
                <a16:creationId xmlns:a16="http://schemas.microsoft.com/office/drawing/2014/main" id="{BECD5646-C82E-BE42-8741-1269CA546B67}"/>
              </a:ext>
            </a:extLst>
          </p:cNvPr>
          <p:cNvSpPr>
            <a:spLocks noGrp="1"/>
          </p:cNvSpPr>
          <p:nvPr>
            <p:ph type="body" sz="quarter" idx="13"/>
          </p:nvPr>
        </p:nvSpPr>
        <p:spPr/>
        <p:txBody>
          <a:bodyPr/>
          <a:lstStyle/>
          <a:p>
            <a:r>
              <a:rPr lang="en-US" dirty="0"/>
              <a:t>WARNING!</a:t>
            </a:r>
          </a:p>
        </p:txBody>
      </p:sp>
      <p:sp>
        <p:nvSpPr>
          <p:cNvPr id="4" name="Slide Number Placeholder 3">
            <a:extLst>
              <a:ext uri="{FF2B5EF4-FFF2-40B4-BE49-F238E27FC236}">
                <a16:creationId xmlns:a16="http://schemas.microsoft.com/office/drawing/2014/main" id="{E19EE94B-80BB-D448-818E-C218E21A5DFC}"/>
              </a:ext>
            </a:extLst>
          </p:cNvPr>
          <p:cNvSpPr>
            <a:spLocks noGrp="1"/>
          </p:cNvSpPr>
          <p:nvPr>
            <p:ph type="sldNum" sz="quarter" idx="4"/>
          </p:nvPr>
        </p:nvSpPr>
        <p:spPr/>
        <p:txBody>
          <a:bodyPr/>
          <a:lstStyle/>
          <a:p>
            <a:fld id="{E1123682-AE52-6D45-865E-F1EB3AE0E340}" type="slidenum">
              <a:rPr lang="en-US" smtClean="0"/>
              <a:pPr/>
              <a:t>19</a:t>
            </a:fld>
            <a:endParaRPr lang="en-US" dirty="0"/>
          </a:p>
        </p:txBody>
      </p:sp>
      <p:graphicFrame>
        <p:nvGraphicFramePr>
          <p:cNvPr id="25" name="Table 24">
            <a:extLst>
              <a:ext uri="{FF2B5EF4-FFF2-40B4-BE49-F238E27FC236}">
                <a16:creationId xmlns:a16="http://schemas.microsoft.com/office/drawing/2014/main" id="{CD318039-FE01-C74F-A507-295648A13A04}"/>
              </a:ext>
            </a:extLst>
          </p:cNvPr>
          <p:cNvGraphicFramePr>
            <a:graphicFrameLocks noGrp="1"/>
          </p:cNvGraphicFramePr>
          <p:nvPr>
            <p:extLst>
              <p:ext uri="{D42A27DB-BD31-4B8C-83A1-F6EECF244321}">
                <p14:modId xmlns:p14="http://schemas.microsoft.com/office/powerpoint/2010/main" val="3977399418"/>
              </p:ext>
            </p:extLst>
          </p:nvPr>
        </p:nvGraphicFramePr>
        <p:xfrm>
          <a:off x="609600" y="1571605"/>
          <a:ext cx="5227674" cy="4674082"/>
        </p:xfrm>
        <a:graphic>
          <a:graphicData uri="http://schemas.openxmlformats.org/drawingml/2006/table">
            <a:tbl>
              <a:tblPr firstRow="1" bandRow="1">
                <a:tableStyleId>{5C22544A-7EE6-4342-B048-85BDC9FD1C3A}</a:tableStyleId>
              </a:tblPr>
              <a:tblGrid>
                <a:gridCol w="5227674">
                  <a:extLst>
                    <a:ext uri="{9D8B030D-6E8A-4147-A177-3AD203B41FA5}">
                      <a16:colId xmlns:a16="http://schemas.microsoft.com/office/drawing/2014/main" val="20000"/>
                    </a:ext>
                  </a:extLst>
                </a:gridCol>
              </a:tblGrid>
              <a:tr h="444887">
                <a:tc>
                  <a:txBody>
                    <a:bodyPr/>
                    <a:lstStyle/>
                    <a:p>
                      <a:pPr algn="ctr"/>
                      <a:r>
                        <a:rPr lang="en-US" sz="1600" spc="600" dirty="0"/>
                        <a:t>ISSUE</a:t>
                      </a:r>
                    </a:p>
                  </a:txBody>
                  <a:tcPr marL="105508" marR="105508" marT="52754" marB="5275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0000"/>
                  </a:ext>
                </a:extLst>
              </a:tr>
              <a:tr h="1055509">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Using the autogenerated entities can result in too much data coming back</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062668">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Loading too many related tables (or too few) can result in too much data (or not enough – sometimes manifesting itself as a Null Reference Exception)</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1055509">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Not using the –</a:t>
                      </a:r>
                      <a:r>
                        <a:rPr lang="en-US" sz="1800" kern="1200" baseline="0" dirty="0">
                          <a:solidFill>
                            <a:schemeClr val="tx1"/>
                          </a:solidFill>
                          <a:latin typeface="Consolas" panose="020B0609020204030204" pitchFamily="49" charset="0"/>
                          <a:ea typeface="+mn-ea"/>
                          <a:cs typeface="Consolas" panose="020B0609020204030204" pitchFamily="49" charset="0"/>
                        </a:rPr>
                        <a:t>Async()</a:t>
                      </a:r>
                      <a:r>
                        <a:rPr lang="en-US" sz="1800" kern="1200" baseline="0" dirty="0">
                          <a:solidFill>
                            <a:schemeClr val="tx1"/>
                          </a:solidFill>
                          <a:latin typeface="+mn-lt"/>
                          <a:ea typeface="+mn-ea"/>
                          <a:cs typeface="+mn-cs"/>
                        </a:rPr>
                        <a:t> versions of query methods can result in blocking or, in extreme circumstances, thread pool exhaustion</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1055509">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Defeating indexes by not understanding how your database utilizes them</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bl>
          </a:graphicData>
        </a:graphic>
      </p:graphicFrame>
      <p:sp>
        <p:nvSpPr>
          <p:cNvPr id="26" name="Right Brace 25">
            <a:extLst>
              <a:ext uri="{FF2B5EF4-FFF2-40B4-BE49-F238E27FC236}">
                <a16:creationId xmlns:a16="http://schemas.microsoft.com/office/drawing/2014/main" id="{25193D6F-A5C2-DD4E-8646-0628F62682D5}"/>
              </a:ext>
            </a:extLst>
          </p:cNvPr>
          <p:cNvSpPr/>
          <p:nvPr/>
        </p:nvSpPr>
        <p:spPr>
          <a:xfrm>
            <a:off x="5960835" y="2158022"/>
            <a:ext cx="263031" cy="3901446"/>
          </a:xfrm>
          <a:prstGeom prst="rightBrace">
            <a:avLst>
              <a:gd name="adj1" fmla="val 175725"/>
              <a:gd name="adj2" fmla="val 50000"/>
            </a:avLst>
          </a:prstGeom>
          <a:ln w="38100" cmpd="sng">
            <a:solidFill>
              <a:schemeClr val="tx1">
                <a:lumMod val="60000"/>
                <a:lumOff val="4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077"/>
          </a:p>
        </p:txBody>
      </p:sp>
      <p:graphicFrame>
        <p:nvGraphicFramePr>
          <p:cNvPr id="31" name="Table 30">
            <a:extLst>
              <a:ext uri="{FF2B5EF4-FFF2-40B4-BE49-F238E27FC236}">
                <a16:creationId xmlns:a16="http://schemas.microsoft.com/office/drawing/2014/main" id="{AF6DB1EF-F8D8-4A46-9924-2EDF9D2DE984}"/>
              </a:ext>
            </a:extLst>
          </p:cNvPr>
          <p:cNvGraphicFramePr>
            <a:graphicFrameLocks noGrp="1"/>
          </p:cNvGraphicFramePr>
          <p:nvPr>
            <p:extLst>
              <p:ext uri="{D42A27DB-BD31-4B8C-83A1-F6EECF244321}">
                <p14:modId xmlns:p14="http://schemas.microsoft.com/office/powerpoint/2010/main" val="3367004226"/>
              </p:ext>
            </p:extLst>
          </p:nvPr>
        </p:nvGraphicFramePr>
        <p:xfrm>
          <a:off x="6354729" y="1569591"/>
          <a:ext cx="5227674" cy="4667622"/>
        </p:xfrm>
        <a:graphic>
          <a:graphicData uri="http://schemas.openxmlformats.org/drawingml/2006/table">
            <a:tbl>
              <a:tblPr firstRow="1" bandRow="1">
                <a:tableStyleId>{5C22544A-7EE6-4342-B048-85BDC9FD1C3A}</a:tableStyleId>
              </a:tblPr>
              <a:tblGrid>
                <a:gridCol w="5227674">
                  <a:extLst>
                    <a:ext uri="{9D8B030D-6E8A-4147-A177-3AD203B41FA5}">
                      <a16:colId xmlns:a16="http://schemas.microsoft.com/office/drawing/2014/main" val="20000"/>
                    </a:ext>
                  </a:extLst>
                </a:gridCol>
              </a:tblGrid>
              <a:tr h="444954">
                <a:tc>
                  <a:txBody>
                    <a:bodyPr/>
                    <a:lstStyle/>
                    <a:p>
                      <a:pPr algn="ctr"/>
                      <a:r>
                        <a:rPr lang="en-US" sz="1600" spc="600" dirty="0"/>
                        <a:t>SOLUTION</a:t>
                      </a:r>
                    </a:p>
                  </a:txBody>
                  <a:tcPr marL="105508" marR="105508" marT="52754" marB="5275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0000"/>
                  </a:ext>
                </a:extLst>
              </a:tr>
              <a:tr h="1055667">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Use a </a:t>
                      </a:r>
                      <a:r>
                        <a:rPr lang="en-US" sz="1800" kern="1200" baseline="0" dirty="0">
                          <a:solidFill>
                            <a:schemeClr val="tx1"/>
                          </a:solidFill>
                          <a:latin typeface="Consolas" panose="020B0609020204030204" pitchFamily="49" charset="0"/>
                          <a:ea typeface="+mn-ea"/>
                          <a:cs typeface="Consolas" panose="020B0609020204030204" pitchFamily="49" charset="0"/>
                        </a:rPr>
                        <a:t>Select()</a:t>
                      </a:r>
                      <a:r>
                        <a:rPr lang="en-US" sz="1800" kern="1200" baseline="0" dirty="0">
                          <a:solidFill>
                            <a:schemeClr val="tx1"/>
                          </a:solidFill>
                          <a:latin typeface="+mn-lt"/>
                          <a:ea typeface="+mn-ea"/>
                          <a:cs typeface="+mn-cs"/>
                        </a:rPr>
                        <a:t> to get only the needed columns – the generated query will only list the columns needed!</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055667">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Make sure to only use </a:t>
                      </a:r>
                      <a:r>
                        <a:rPr lang="en-US" sz="1800" kern="1200" baseline="0" dirty="0">
                          <a:solidFill>
                            <a:schemeClr val="tx1"/>
                          </a:solidFill>
                          <a:latin typeface="Consolas" panose="020B0609020204030204" pitchFamily="49" charset="0"/>
                          <a:ea typeface="+mn-ea"/>
                          <a:cs typeface="Consolas" panose="020B0609020204030204" pitchFamily="49" charset="0"/>
                        </a:rPr>
                        <a:t>Include()</a:t>
                      </a:r>
                      <a:r>
                        <a:rPr lang="en-US" sz="1800" kern="1200" baseline="0" dirty="0">
                          <a:solidFill>
                            <a:schemeClr val="tx1"/>
                          </a:solidFill>
                          <a:latin typeface="+mn-lt"/>
                          <a:ea typeface="+mn-ea"/>
                          <a:cs typeface="+mn-cs"/>
                        </a:rPr>
                        <a:t> with data you will need for your current operation!</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1055667">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Always use the –</a:t>
                      </a:r>
                      <a:r>
                        <a:rPr lang="en-US" sz="1800" kern="1200" baseline="0" dirty="0">
                          <a:solidFill>
                            <a:schemeClr val="tx1"/>
                          </a:solidFill>
                          <a:latin typeface="Consolas" panose="020B0609020204030204" pitchFamily="49" charset="0"/>
                          <a:ea typeface="+mn-ea"/>
                          <a:cs typeface="Consolas" panose="020B0609020204030204" pitchFamily="49" charset="0"/>
                        </a:rPr>
                        <a:t>Async()</a:t>
                      </a:r>
                      <a:r>
                        <a:rPr lang="en-US" sz="1800" kern="1200" baseline="0" dirty="0">
                          <a:solidFill>
                            <a:schemeClr val="tx1"/>
                          </a:solidFill>
                          <a:latin typeface="+mn-lt"/>
                          <a:ea typeface="+mn-ea"/>
                          <a:cs typeface="+mn-cs"/>
                        </a:rPr>
                        <a:t> versions of query methods to reduce blocking</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1055667">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Learn a bit about how your database engine chooses which indexes to use</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3168400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nvGraphicFramePr>
        <p:xfrm>
          <a:off x="120316" y="76339"/>
          <a:ext cx="11971421" cy="1544480"/>
        </p:xfrm>
        <a:graphic>
          <a:graphicData uri="http://schemas.openxmlformats.org/drawingml/2006/table">
            <a:tbl>
              <a:tblPr firstRow="1" bandRow="1">
                <a:tableStyleId>{5C22544A-7EE6-4342-B048-85BDC9FD1C3A}</a:tableStyleId>
              </a:tblPr>
              <a:tblGrid>
                <a:gridCol w="11971421">
                  <a:extLst>
                    <a:ext uri="{9D8B030D-6E8A-4147-A177-3AD203B41FA5}">
                      <a16:colId xmlns:a16="http://schemas.microsoft.com/office/drawing/2014/main" val="20000"/>
                    </a:ext>
                  </a:extLst>
                </a:gridCol>
              </a:tblGrid>
              <a:tr h="1544480">
                <a:tc>
                  <a:txBody>
                    <a:bodyPr/>
                    <a:lstStyle/>
                    <a:p>
                      <a:pPr algn="l"/>
                      <a:r>
                        <a:rPr lang="en-US" sz="2400" u="sng" baseline="0" dirty="0">
                          <a:solidFill>
                            <a:schemeClr val="tx1"/>
                          </a:solidFill>
                          <a:uFill>
                            <a:solidFill>
                              <a:srgbClr val="9B26B1"/>
                            </a:solidFill>
                          </a:uFill>
                        </a:rPr>
                        <a:t>Titanium Sponsors</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graphicFrame>
        <p:nvGraphicFramePr>
          <p:cNvPr id="10" name="Table 9"/>
          <p:cNvGraphicFramePr>
            <a:graphicFrameLocks noGrp="1"/>
          </p:cNvGraphicFramePr>
          <p:nvPr/>
        </p:nvGraphicFramePr>
        <p:xfrm>
          <a:off x="120314" y="1652168"/>
          <a:ext cx="11974293" cy="3730505"/>
        </p:xfrm>
        <a:graphic>
          <a:graphicData uri="http://schemas.openxmlformats.org/drawingml/2006/table">
            <a:tbl>
              <a:tblPr firstRow="1" bandRow="1">
                <a:tableStyleId>{5C22544A-7EE6-4342-B048-85BDC9FD1C3A}</a:tableStyleId>
              </a:tblPr>
              <a:tblGrid>
                <a:gridCol w="11974293">
                  <a:extLst>
                    <a:ext uri="{9D8B030D-6E8A-4147-A177-3AD203B41FA5}">
                      <a16:colId xmlns:a16="http://schemas.microsoft.com/office/drawing/2014/main" val="20000"/>
                    </a:ext>
                  </a:extLst>
                </a:gridCol>
              </a:tblGrid>
              <a:tr h="3730505">
                <a:tc>
                  <a:txBody>
                    <a:bodyPr/>
                    <a:lstStyle/>
                    <a:p>
                      <a:r>
                        <a:rPr lang="en-US" sz="2000" u="sng" dirty="0">
                          <a:solidFill>
                            <a:schemeClr val="tx1"/>
                          </a:solidFill>
                          <a:uFill>
                            <a:solidFill>
                              <a:srgbClr val="9B26B1"/>
                            </a:solidFill>
                          </a:uFill>
                        </a:rPr>
                        <a:t>Platinum</a:t>
                      </a:r>
                      <a:r>
                        <a:rPr lang="en-US" sz="2000" u="sng" baseline="0" dirty="0">
                          <a:solidFill>
                            <a:schemeClr val="tx1"/>
                          </a:solidFill>
                          <a:uFill>
                            <a:solidFill>
                              <a:srgbClr val="9B26B1"/>
                            </a:solidFill>
                          </a:uFill>
                        </a:rPr>
                        <a:t> Sponsors</a:t>
                      </a:r>
                      <a:endParaRPr lang="en-US" sz="2000" u="sng" dirty="0">
                        <a:solidFill>
                          <a:schemeClr val="tx1"/>
                        </a:solidFill>
                        <a:uFill>
                          <a:solidFill>
                            <a:srgbClr val="9B26B1"/>
                          </a:solidFill>
                        </a:u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bl>
          </a:graphicData>
        </a:graphic>
      </p:graphicFrame>
      <p:graphicFrame>
        <p:nvGraphicFramePr>
          <p:cNvPr id="21" name="Table 20"/>
          <p:cNvGraphicFramePr>
            <a:graphicFrameLocks noGrp="1"/>
          </p:cNvGraphicFramePr>
          <p:nvPr/>
        </p:nvGraphicFramePr>
        <p:xfrm>
          <a:off x="120316" y="5407200"/>
          <a:ext cx="11971421" cy="1349201"/>
        </p:xfrm>
        <a:graphic>
          <a:graphicData uri="http://schemas.openxmlformats.org/drawingml/2006/table">
            <a:tbl>
              <a:tblPr firstRow="1" bandRow="1">
                <a:tableStyleId>{5C22544A-7EE6-4342-B048-85BDC9FD1C3A}</a:tableStyleId>
              </a:tblPr>
              <a:tblGrid>
                <a:gridCol w="11971421">
                  <a:extLst>
                    <a:ext uri="{9D8B030D-6E8A-4147-A177-3AD203B41FA5}">
                      <a16:colId xmlns:a16="http://schemas.microsoft.com/office/drawing/2014/main" val="20000"/>
                    </a:ext>
                  </a:extLst>
                </a:gridCol>
              </a:tblGrid>
              <a:tr h="1349201">
                <a:tc>
                  <a:txBody>
                    <a:bodyPr/>
                    <a:lstStyle/>
                    <a:p>
                      <a:r>
                        <a:rPr lang="en-US" sz="1800" u="sng" baseline="0" dirty="0">
                          <a:solidFill>
                            <a:schemeClr val="tx1"/>
                          </a:solidFill>
                          <a:uFill>
                            <a:solidFill>
                              <a:srgbClr val="9B26B1"/>
                            </a:solidFill>
                          </a:uFill>
                        </a:rPr>
                        <a:t>Gold Sponsors</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bl>
          </a:graphicData>
        </a:graphic>
      </p:graphicFrame>
      <p:pic>
        <p:nvPicPr>
          <p:cNvPr id="25" name="Picture 24" descr="Cerner.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55876" y="6232830"/>
            <a:ext cx="1068165" cy="289931"/>
          </a:xfrm>
          <a:prstGeom prst="rect">
            <a:avLst/>
          </a:prstGeom>
        </p:spPr>
      </p:pic>
      <p:pic>
        <p:nvPicPr>
          <p:cNvPr id="40" name="Picture 3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221154" y="3720774"/>
            <a:ext cx="2829075" cy="653241"/>
          </a:xfrm>
          <a:prstGeom prst="rect">
            <a:avLst/>
          </a:prstGeom>
        </p:spPr>
      </p:pic>
      <p:pic>
        <p:nvPicPr>
          <p:cNvPr id="22" name="Picture 21"/>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942598" y="5512949"/>
            <a:ext cx="1031103" cy="378433"/>
          </a:xfrm>
          <a:prstGeom prst="rect">
            <a:avLst/>
          </a:prstGeom>
        </p:spPr>
      </p:pic>
      <p:pic>
        <p:nvPicPr>
          <p:cNvPr id="47" name="Picture 46"/>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93754" y="3651303"/>
            <a:ext cx="1691279" cy="689797"/>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053096" y="3473685"/>
            <a:ext cx="1870591" cy="1161492"/>
          </a:xfrm>
          <a:prstGeom prst="rect">
            <a:avLst/>
          </a:prstGeom>
        </p:spPr>
      </p:pic>
      <p:pic>
        <p:nvPicPr>
          <p:cNvPr id="35" name="Picture 34">
            <a:extLst>
              <a:ext uri="{FF2B5EF4-FFF2-40B4-BE49-F238E27FC236}">
                <a16:creationId xmlns:a16="http://schemas.microsoft.com/office/drawing/2014/main" id="{69DF7118-042A-0B4F-9E38-1693A3AFFB53}"/>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62258" y="2068038"/>
            <a:ext cx="1105939" cy="697970"/>
          </a:xfrm>
          <a:prstGeom prst="rect">
            <a:avLst/>
          </a:prstGeom>
        </p:spPr>
      </p:pic>
      <p:pic>
        <p:nvPicPr>
          <p:cNvPr id="48" name="Picture 47">
            <a:extLst>
              <a:ext uri="{FF2B5EF4-FFF2-40B4-BE49-F238E27FC236}">
                <a16:creationId xmlns:a16="http://schemas.microsoft.com/office/drawing/2014/main" id="{F38E847A-0E24-7C4A-9A49-72639F0E4EF4}"/>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554520" y="2928997"/>
            <a:ext cx="3096822" cy="471087"/>
          </a:xfrm>
          <a:prstGeom prst="rect">
            <a:avLst/>
          </a:prstGeom>
        </p:spPr>
      </p:pic>
      <p:pic>
        <p:nvPicPr>
          <p:cNvPr id="53" name="Picture 52"/>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2508633" y="528041"/>
            <a:ext cx="2431589" cy="820662"/>
          </a:xfrm>
          <a:prstGeom prst="rect">
            <a:avLst/>
          </a:prstGeom>
        </p:spPr>
      </p:pic>
      <p:pic>
        <p:nvPicPr>
          <p:cNvPr id="8" name="Picture 7">
            <a:extLst>
              <a:ext uri="{FF2B5EF4-FFF2-40B4-BE49-F238E27FC236}">
                <a16:creationId xmlns:a16="http://schemas.microsoft.com/office/drawing/2014/main" id="{C13F089C-BF55-8546-AE23-D3D502ADC73C}"/>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768337" y="433503"/>
            <a:ext cx="5066295" cy="1172923"/>
          </a:xfrm>
          <a:prstGeom prst="rect">
            <a:avLst/>
          </a:prstGeom>
        </p:spPr>
      </p:pic>
      <p:pic>
        <p:nvPicPr>
          <p:cNvPr id="19" name="Picture 18">
            <a:extLst>
              <a:ext uri="{FF2B5EF4-FFF2-40B4-BE49-F238E27FC236}">
                <a16:creationId xmlns:a16="http://schemas.microsoft.com/office/drawing/2014/main" id="{89399FF4-AE36-4844-8D25-C9BB549444E8}"/>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4406946" y="4505694"/>
            <a:ext cx="2834164" cy="855280"/>
          </a:xfrm>
          <a:prstGeom prst="rect">
            <a:avLst/>
          </a:prstGeom>
        </p:spPr>
      </p:pic>
      <p:pic>
        <p:nvPicPr>
          <p:cNvPr id="59" name="Picture 58">
            <a:extLst>
              <a:ext uri="{FF2B5EF4-FFF2-40B4-BE49-F238E27FC236}">
                <a16:creationId xmlns:a16="http://schemas.microsoft.com/office/drawing/2014/main" id="{A23C553C-F146-854F-91A3-CAEE111AC63E}"/>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1972039" y="2103273"/>
            <a:ext cx="2095528" cy="540566"/>
          </a:xfrm>
          <a:prstGeom prst="rect">
            <a:avLst/>
          </a:prstGeom>
        </p:spPr>
      </p:pic>
      <p:pic>
        <p:nvPicPr>
          <p:cNvPr id="74" name="Picture 73">
            <a:extLst>
              <a:ext uri="{FF2B5EF4-FFF2-40B4-BE49-F238E27FC236}">
                <a16:creationId xmlns:a16="http://schemas.microsoft.com/office/drawing/2014/main" id="{B399AAC7-DFF1-0444-9FED-14AD844CCD05}"/>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4230694" y="5353061"/>
            <a:ext cx="1655437" cy="718397"/>
          </a:xfrm>
          <a:prstGeom prst="rect">
            <a:avLst/>
          </a:prstGeom>
        </p:spPr>
      </p:pic>
      <p:pic>
        <p:nvPicPr>
          <p:cNvPr id="78" name="Picture 77">
            <a:extLst>
              <a:ext uri="{FF2B5EF4-FFF2-40B4-BE49-F238E27FC236}">
                <a16:creationId xmlns:a16="http://schemas.microsoft.com/office/drawing/2014/main" id="{E4817B25-1FAD-5F44-BDCF-5F98686ED15E}"/>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030249" y="5585690"/>
            <a:ext cx="1621870" cy="301312"/>
          </a:xfrm>
          <a:prstGeom prst="rect">
            <a:avLst/>
          </a:prstGeom>
        </p:spPr>
      </p:pic>
      <p:pic>
        <p:nvPicPr>
          <p:cNvPr id="88" name="Picture 87">
            <a:extLst>
              <a:ext uri="{FF2B5EF4-FFF2-40B4-BE49-F238E27FC236}">
                <a16:creationId xmlns:a16="http://schemas.microsoft.com/office/drawing/2014/main" id="{ABDADE6B-AD2F-894F-AABB-ACA93593B19B}"/>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1709977" y="6231465"/>
            <a:ext cx="950111" cy="229095"/>
          </a:xfrm>
          <a:prstGeom prst="rect">
            <a:avLst/>
          </a:prstGeom>
        </p:spPr>
      </p:pic>
      <p:pic>
        <p:nvPicPr>
          <p:cNvPr id="92" name="Picture 91">
            <a:extLst>
              <a:ext uri="{FF2B5EF4-FFF2-40B4-BE49-F238E27FC236}">
                <a16:creationId xmlns:a16="http://schemas.microsoft.com/office/drawing/2014/main" id="{FB3619F7-C50A-5845-B2A1-846D826B0604}"/>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54321" y="2947135"/>
            <a:ext cx="2488277" cy="414713"/>
          </a:xfrm>
          <a:prstGeom prst="rect">
            <a:avLst/>
          </a:prstGeom>
        </p:spPr>
      </p:pic>
      <p:pic>
        <p:nvPicPr>
          <p:cNvPr id="96" name="Picture 95">
            <a:extLst>
              <a:ext uri="{FF2B5EF4-FFF2-40B4-BE49-F238E27FC236}">
                <a16:creationId xmlns:a16="http://schemas.microsoft.com/office/drawing/2014/main" id="{9068400E-A1C2-AE46-BCFB-1EAEA88DBC57}"/>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6272651" y="6123186"/>
            <a:ext cx="1046660" cy="301312"/>
          </a:xfrm>
          <a:prstGeom prst="rect">
            <a:avLst/>
          </a:prstGeom>
        </p:spPr>
      </p:pic>
      <p:pic>
        <p:nvPicPr>
          <p:cNvPr id="98" name="Picture 97">
            <a:extLst>
              <a:ext uri="{FF2B5EF4-FFF2-40B4-BE49-F238E27FC236}">
                <a16:creationId xmlns:a16="http://schemas.microsoft.com/office/drawing/2014/main" id="{16AAE60B-B902-CD49-9470-0237A7612080}"/>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8706505" y="3335802"/>
            <a:ext cx="1078872" cy="1117013"/>
          </a:xfrm>
          <a:prstGeom prst="rect">
            <a:avLst/>
          </a:prstGeom>
        </p:spPr>
      </p:pic>
      <p:pic>
        <p:nvPicPr>
          <p:cNvPr id="102" name="Picture 101">
            <a:extLst>
              <a:ext uri="{FF2B5EF4-FFF2-40B4-BE49-F238E27FC236}">
                <a16:creationId xmlns:a16="http://schemas.microsoft.com/office/drawing/2014/main" id="{7F2F04C1-1150-F442-84D5-F3C041E3C549}"/>
              </a:ext>
            </a:extLst>
          </p:cNvPr>
          <p:cNvPicPr>
            <a:picLocks noChangeAspect="1"/>
          </p:cNvPicPr>
          <p:nvPr/>
        </p:nvPicPr>
        <p:blipFill rotWithShape="1">
          <a:blip r:embed="rId20"/>
          <a:srcRect t="38611" b="38901"/>
          <a:stretch/>
        </p:blipFill>
        <p:spPr>
          <a:xfrm>
            <a:off x="9399709" y="2061870"/>
            <a:ext cx="2391056" cy="537731"/>
          </a:xfrm>
          <a:prstGeom prst="rect">
            <a:avLst/>
          </a:prstGeom>
        </p:spPr>
      </p:pic>
      <p:pic>
        <p:nvPicPr>
          <p:cNvPr id="41" name="Graphic 40">
            <a:extLst>
              <a:ext uri="{FF2B5EF4-FFF2-40B4-BE49-F238E27FC236}">
                <a16:creationId xmlns:a16="http://schemas.microsoft.com/office/drawing/2014/main" id="{D7941B0E-AB56-0049-9C23-0B66F5F8031F}"/>
              </a:ext>
            </a:extLst>
          </p:cNvPr>
          <p:cNvPicPr>
            <a:picLocks noChangeAspect="1"/>
          </p:cNvPicPr>
          <p:nvPr/>
        </p:nvPicPr>
        <p:blipFill>
          <a:blip r:embed="rId21" cstate="print">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7392216" y="4500285"/>
            <a:ext cx="1462989" cy="728786"/>
          </a:xfrm>
          <a:prstGeom prst="rect">
            <a:avLst/>
          </a:prstGeom>
        </p:spPr>
      </p:pic>
      <p:pic>
        <p:nvPicPr>
          <p:cNvPr id="104" name="Picture 103">
            <a:extLst>
              <a:ext uri="{FF2B5EF4-FFF2-40B4-BE49-F238E27FC236}">
                <a16:creationId xmlns:a16="http://schemas.microsoft.com/office/drawing/2014/main" id="{5B266E19-AD97-EB45-A064-F993B993E1A4}"/>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1786299" y="5610917"/>
            <a:ext cx="957409" cy="277416"/>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7C1FE23F-842D-409D-8C92-03754CB8B920}"/>
              </a:ext>
            </a:extLst>
          </p:cNvPr>
          <p:cNvPicPr>
            <a:picLocks noChangeAspect="1"/>
          </p:cNvPicPr>
          <p:nvPr/>
        </p:nvPicPr>
        <p:blipFill>
          <a:blip r:embed="rId24"/>
          <a:stretch>
            <a:fillRect/>
          </a:stretch>
        </p:blipFill>
        <p:spPr>
          <a:xfrm>
            <a:off x="9697859" y="2796686"/>
            <a:ext cx="1726136" cy="581577"/>
          </a:xfrm>
          <a:prstGeom prst="rect">
            <a:avLst/>
          </a:prstGeom>
        </p:spPr>
      </p:pic>
      <p:pic>
        <p:nvPicPr>
          <p:cNvPr id="18" name="Picture 17" descr="Shape&#10;&#10;Description automatically generated with medium confidence">
            <a:extLst>
              <a:ext uri="{FF2B5EF4-FFF2-40B4-BE49-F238E27FC236}">
                <a16:creationId xmlns:a16="http://schemas.microsoft.com/office/drawing/2014/main" id="{E84CD1F3-2EE8-4B50-84A3-190496082415}"/>
              </a:ext>
            </a:extLst>
          </p:cNvPr>
          <p:cNvPicPr>
            <a:picLocks noChangeAspect="1"/>
          </p:cNvPicPr>
          <p:nvPr/>
        </p:nvPicPr>
        <p:blipFill>
          <a:blip r:embed="rId25"/>
          <a:stretch>
            <a:fillRect/>
          </a:stretch>
        </p:blipFill>
        <p:spPr>
          <a:xfrm>
            <a:off x="2510135" y="3800626"/>
            <a:ext cx="2101666" cy="497131"/>
          </a:xfrm>
          <a:prstGeom prst="rect">
            <a:avLst/>
          </a:prstGeom>
        </p:spPr>
      </p:pic>
      <p:pic>
        <p:nvPicPr>
          <p:cNvPr id="24" name="Picture 23" descr="A picture containing text, clipart&#10;&#10;Description automatically generated">
            <a:extLst>
              <a:ext uri="{FF2B5EF4-FFF2-40B4-BE49-F238E27FC236}">
                <a16:creationId xmlns:a16="http://schemas.microsoft.com/office/drawing/2014/main" id="{7155AD16-220A-4403-9A7A-ED479AC93E3B}"/>
              </a:ext>
            </a:extLst>
          </p:cNvPr>
          <p:cNvPicPr>
            <a:picLocks noChangeAspect="1"/>
          </p:cNvPicPr>
          <p:nvPr/>
        </p:nvPicPr>
        <p:blipFill>
          <a:blip r:embed="rId26"/>
          <a:stretch>
            <a:fillRect/>
          </a:stretch>
        </p:blipFill>
        <p:spPr>
          <a:xfrm>
            <a:off x="2592812" y="4694791"/>
            <a:ext cx="1659713" cy="559324"/>
          </a:xfrm>
          <a:prstGeom prst="rect">
            <a:avLst/>
          </a:prstGeom>
        </p:spPr>
      </p:pic>
      <p:pic>
        <p:nvPicPr>
          <p:cNvPr id="27" name="Picture 26" descr="Logo&#10;&#10;Description automatically generated">
            <a:extLst>
              <a:ext uri="{FF2B5EF4-FFF2-40B4-BE49-F238E27FC236}">
                <a16:creationId xmlns:a16="http://schemas.microsoft.com/office/drawing/2014/main" id="{C885D32D-AD0D-4AC2-BAA2-2F83EE52A29A}"/>
              </a:ext>
            </a:extLst>
          </p:cNvPr>
          <p:cNvPicPr>
            <a:picLocks noChangeAspect="1"/>
          </p:cNvPicPr>
          <p:nvPr/>
        </p:nvPicPr>
        <p:blipFill>
          <a:blip r:embed="rId27"/>
          <a:stretch>
            <a:fillRect/>
          </a:stretch>
        </p:blipFill>
        <p:spPr>
          <a:xfrm>
            <a:off x="7050576" y="3147068"/>
            <a:ext cx="1450129" cy="487153"/>
          </a:xfrm>
          <a:prstGeom prst="rect">
            <a:avLst/>
          </a:prstGeom>
        </p:spPr>
      </p:pic>
      <p:pic>
        <p:nvPicPr>
          <p:cNvPr id="32" name="Picture 31" descr="Logo, company name&#10;&#10;Description automatically generated">
            <a:extLst>
              <a:ext uri="{FF2B5EF4-FFF2-40B4-BE49-F238E27FC236}">
                <a16:creationId xmlns:a16="http://schemas.microsoft.com/office/drawing/2014/main" id="{86D1E4D0-FB65-413F-A552-722C2E9B7E9B}"/>
              </a:ext>
            </a:extLst>
          </p:cNvPr>
          <p:cNvPicPr>
            <a:picLocks noChangeAspect="1"/>
          </p:cNvPicPr>
          <p:nvPr/>
        </p:nvPicPr>
        <p:blipFill>
          <a:blip r:embed="rId28"/>
          <a:stretch>
            <a:fillRect/>
          </a:stretch>
        </p:blipFill>
        <p:spPr>
          <a:xfrm>
            <a:off x="4216056" y="1959226"/>
            <a:ext cx="2494298" cy="839494"/>
          </a:xfrm>
          <a:prstGeom prst="rect">
            <a:avLst/>
          </a:prstGeom>
        </p:spPr>
      </p:pic>
      <p:pic>
        <p:nvPicPr>
          <p:cNvPr id="34" name="Picture 33" descr="A picture containing background pattern&#10;&#10;Description automatically generated">
            <a:extLst>
              <a:ext uri="{FF2B5EF4-FFF2-40B4-BE49-F238E27FC236}">
                <a16:creationId xmlns:a16="http://schemas.microsoft.com/office/drawing/2014/main" id="{DE58A91F-76BD-451C-BC92-5EFC271A0268}"/>
              </a:ext>
            </a:extLst>
          </p:cNvPr>
          <p:cNvPicPr>
            <a:picLocks noChangeAspect="1"/>
          </p:cNvPicPr>
          <p:nvPr/>
        </p:nvPicPr>
        <p:blipFill>
          <a:blip r:embed="rId29"/>
          <a:stretch>
            <a:fillRect/>
          </a:stretch>
        </p:blipFill>
        <p:spPr>
          <a:xfrm>
            <a:off x="556152" y="4712784"/>
            <a:ext cx="1560087" cy="524935"/>
          </a:xfrm>
          <a:prstGeom prst="rect">
            <a:avLst/>
          </a:prstGeom>
        </p:spPr>
      </p:pic>
      <p:pic>
        <p:nvPicPr>
          <p:cNvPr id="37" name="Picture 36" descr="A picture containing logo&#10;&#10;Description automatically generated">
            <a:extLst>
              <a:ext uri="{FF2B5EF4-FFF2-40B4-BE49-F238E27FC236}">
                <a16:creationId xmlns:a16="http://schemas.microsoft.com/office/drawing/2014/main" id="{3106D7AD-0AAC-424E-AFF3-4563F621DDDA}"/>
              </a:ext>
            </a:extLst>
          </p:cNvPr>
          <p:cNvPicPr>
            <a:picLocks noChangeAspect="1"/>
          </p:cNvPicPr>
          <p:nvPr/>
        </p:nvPicPr>
        <p:blipFill>
          <a:blip r:embed="rId30"/>
          <a:stretch>
            <a:fillRect/>
          </a:stretch>
        </p:blipFill>
        <p:spPr>
          <a:xfrm>
            <a:off x="7335317" y="2167931"/>
            <a:ext cx="1655985" cy="557515"/>
          </a:xfrm>
          <a:prstGeom prst="rect">
            <a:avLst/>
          </a:prstGeom>
        </p:spPr>
      </p:pic>
      <p:pic>
        <p:nvPicPr>
          <p:cNvPr id="39" name="Picture 38" descr="Logo&#10;&#10;Description automatically generated">
            <a:extLst>
              <a:ext uri="{FF2B5EF4-FFF2-40B4-BE49-F238E27FC236}">
                <a16:creationId xmlns:a16="http://schemas.microsoft.com/office/drawing/2014/main" id="{B3E266C6-D571-48BD-9B41-48F848ED63E7}"/>
              </a:ext>
            </a:extLst>
          </p:cNvPr>
          <p:cNvPicPr>
            <a:picLocks noChangeAspect="1"/>
          </p:cNvPicPr>
          <p:nvPr/>
        </p:nvPicPr>
        <p:blipFill>
          <a:blip r:embed="rId31"/>
          <a:stretch>
            <a:fillRect/>
          </a:stretch>
        </p:blipFill>
        <p:spPr>
          <a:xfrm>
            <a:off x="3230895" y="6071458"/>
            <a:ext cx="832647" cy="468276"/>
          </a:xfrm>
          <a:prstGeom prst="rect">
            <a:avLst/>
          </a:prstGeom>
        </p:spPr>
      </p:pic>
      <p:pic>
        <p:nvPicPr>
          <p:cNvPr id="44" name="Picture 43" descr="Logo&#10;&#10;Description automatically generated">
            <a:extLst>
              <a:ext uri="{FF2B5EF4-FFF2-40B4-BE49-F238E27FC236}">
                <a16:creationId xmlns:a16="http://schemas.microsoft.com/office/drawing/2014/main" id="{E28187B2-60BB-445D-98BE-CE0A8EA324D6}"/>
              </a:ext>
            </a:extLst>
          </p:cNvPr>
          <p:cNvPicPr>
            <a:picLocks noChangeAspect="1"/>
          </p:cNvPicPr>
          <p:nvPr/>
        </p:nvPicPr>
        <p:blipFill>
          <a:blip r:embed="rId32"/>
          <a:stretch>
            <a:fillRect/>
          </a:stretch>
        </p:blipFill>
        <p:spPr>
          <a:xfrm>
            <a:off x="10532487" y="5415185"/>
            <a:ext cx="1001989" cy="526044"/>
          </a:xfrm>
          <a:prstGeom prst="rect">
            <a:avLst/>
          </a:prstGeom>
        </p:spPr>
      </p:pic>
      <p:pic>
        <p:nvPicPr>
          <p:cNvPr id="50" name="Picture 49" descr="A picture containing text, tableware, plate, dishware&#10;&#10;Description automatically generated">
            <a:extLst>
              <a:ext uri="{FF2B5EF4-FFF2-40B4-BE49-F238E27FC236}">
                <a16:creationId xmlns:a16="http://schemas.microsoft.com/office/drawing/2014/main" id="{FFA8E9F3-D2A7-4199-93D0-84170A9629D5}"/>
              </a:ext>
            </a:extLst>
          </p:cNvPr>
          <p:cNvPicPr>
            <a:picLocks noChangeAspect="1"/>
          </p:cNvPicPr>
          <p:nvPr/>
        </p:nvPicPr>
        <p:blipFill>
          <a:blip r:embed="rId33"/>
          <a:stretch>
            <a:fillRect/>
          </a:stretch>
        </p:blipFill>
        <p:spPr>
          <a:xfrm>
            <a:off x="5846460" y="5545051"/>
            <a:ext cx="938006" cy="316789"/>
          </a:xfrm>
          <a:prstGeom prst="rect">
            <a:avLst/>
          </a:prstGeom>
        </p:spPr>
      </p:pic>
      <p:pic>
        <p:nvPicPr>
          <p:cNvPr id="62" name="Picture 61" descr="Logo, company name&#10;&#10;Description automatically generated">
            <a:extLst>
              <a:ext uri="{FF2B5EF4-FFF2-40B4-BE49-F238E27FC236}">
                <a16:creationId xmlns:a16="http://schemas.microsoft.com/office/drawing/2014/main" id="{B63466D8-D7A7-47D2-AC03-117F50ED44A8}"/>
              </a:ext>
            </a:extLst>
          </p:cNvPr>
          <p:cNvPicPr>
            <a:picLocks noChangeAspect="1"/>
          </p:cNvPicPr>
          <p:nvPr/>
        </p:nvPicPr>
        <p:blipFill>
          <a:blip r:embed="rId34"/>
          <a:stretch>
            <a:fillRect/>
          </a:stretch>
        </p:blipFill>
        <p:spPr>
          <a:xfrm>
            <a:off x="7612035" y="6089451"/>
            <a:ext cx="1094471" cy="368782"/>
          </a:xfrm>
          <a:prstGeom prst="rect">
            <a:avLst/>
          </a:prstGeom>
        </p:spPr>
      </p:pic>
      <p:pic>
        <p:nvPicPr>
          <p:cNvPr id="68" name="Picture 67" descr="Logo, company name&#10;&#10;Description automatically generated">
            <a:extLst>
              <a:ext uri="{FF2B5EF4-FFF2-40B4-BE49-F238E27FC236}">
                <a16:creationId xmlns:a16="http://schemas.microsoft.com/office/drawing/2014/main" id="{E6554B1E-9F64-4DD3-B4D9-8EB8369047EF}"/>
              </a:ext>
            </a:extLst>
          </p:cNvPr>
          <p:cNvPicPr>
            <a:picLocks noChangeAspect="1"/>
          </p:cNvPicPr>
          <p:nvPr/>
        </p:nvPicPr>
        <p:blipFill>
          <a:blip r:embed="rId35"/>
          <a:stretch>
            <a:fillRect/>
          </a:stretch>
        </p:blipFill>
        <p:spPr>
          <a:xfrm>
            <a:off x="8897904" y="5505520"/>
            <a:ext cx="1274393" cy="429608"/>
          </a:xfrm>
          <a:prstGeom prst="rect">
            <a:avLst/>
          </a:prstGeom>
        </p:spPr>
      </p:pic>
      <p:pic>
        <p:nvPicPr>
          <p:cNvPr id="82" name="Picture 81" descr="A picture containing icon&#10;&#10;Description automatically generated">
            <a:extLst>
              <a:ext uri="{FF2B5EF4-FFF2-40B4-BE49-F238E27FC236}">
                <a16:creationId xmlns:a16="http://schemas.microsoft.com/office/drawing/2014/main" id="{5A61A6CD-782C-43D0-9F20-9946AA03D74D}"/>
              </a:ext>
            </a:extLst>
          </p:cNvPr>
          <p:cNvPicPr>
            <a:picLocks noChangeAspect="1"/>
          </p:cNvPicPr>
          <p:nvPr/>
        </p:nvPicPr>
        <p:blipFill>
          <a:blip r:embed="rId36"/>
          <a:stretch>
            <a:fillRect/>
          </a:stretch>
        </p:blipFill>
        <p:spPr>
          <a:xfrm>
            <a:off x="9258795" y="4772461"/>
            <a:ext cx="2547386" cy="419899"/>
          </a:xfrm>
          <a:prstGeom prst="rect">
            <a:avLst/>
          </a:prstGeom>
        </p:spPr>
      </p:pic>
      <p:pic>
        <p:nvPicPr>
          <p:cNvPr id="85" name="Picture 84" descr="Text&#10;&#10;Description automatically generated with low confidence">
            <a:extLst>
              <a:ext uri="{FF2B5EF4-FFF2-40B4-BE49-F238E27FC236}">
                <a16:creationId xmlns:a16="http://schemas.microsoft.com/office/drawing/2014/main" id="{CC738E9F-C329-4BF3-ACB9-B70044E9BE01}"/>
              </a:ext>
            </a:extLst>
          </p:cNvPr>
          <p:cNvPicPr>
            <a:picLocks noChangeAspect="1"/>
          </p:cNvPicPr>
          <p:nvPr/>
        </p:nvPicPr>
        <p:blipFill>
          <a:blip r:embed="rId37"/>
          <a:stretch>
            <a:fillRect/>
          </a:stretch>
        </p:blipFill>
        <p:spPr>
          <a:xfrm>
            <a:off x="4435041" y="6024265"/>
            <a:ext cx="1527592" cy="517511"/>
          </a:xfrm>
          <a:prstGeom prst="rect">
            <a:avLst/>
          </a:prstGeom>
        </p:spPr>
      </p:pic>
      <p:pic>
        <p:nvPicPr>
          <p:cNvPr id="3" name="Picture 2" descr="A picture containing text, outdoor, sign, clipart&#10;&#10;Description automatically generated">
            <a:extLst>
              <a:ext uri="{FF2B5EF4-FFF2-40B4-BE49-F238E27FC236}">
                <a16:creationId xmlns:a16="http://schemas.microsoft.com/office/drawing/2014/main" id="{5B7EDD0C-3AEC-AE46-AC3B-46AC9FF566F6}"/>
              </a:ext>
            </a:extLst>
          </p:cNvPr>
          <p:cNvPicPr>
            <a:picLocks noChangeAspect="1"/>
          </p:cNvPicPr>
          <p:nvPr/>
        </p:nvPicPr>
        <p:blipFill>
          <a:blip r:embed="rId38"/>
          <a:stretch>
            <a:fillRect/>
          </a:stretch>
        </p:blipFill>
        <p:spPr>
          <a:xfrm>
            <a:off x="9002459" y="6041953"/>
            <a:ext cx="1094543" cy="429608"/>
          </a:xfrm>
          <a:prstGeom prst="rect">
            <a:avLst/>
          </a:prstGeom>
        </p:spPr>
      </p:pic>
      <p:pic>
        <p:nvPicPr>
          <p:cNvPr id="1026" name="Picture 2">
            <a:hlinkClick r:id="rId39"/>
            <a:extLst>
              <a:ext uri="{FF2B5EF4-FFF2-40B4-BE49-F238E27FC236}">
                <a16:creationId xmlns:a16="http://schemas.microsoft.com/office/drawing/2014/main" id="{46F7C074-25E0-0A43-9CB8-DF0FC80C769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0387723" y="6041953"/>
            <a:ext cx="1447829" cy="526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30540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2A0A5A-6876-D24B-B93D-CC087EFDB9C9}"/>
              </a:ext>
            </a:extLst>
          </p:cNvPr>
          <p:cNvSpPr>
            <a:spLocks noGrp="1"/>
          </p:cNvSpPr>
          <p:nvPr>
            <p:ph type="title"/>
          </p:nvPr>
        </p:nvSpPr>
        <p:spPr/>
        <p:txBody>
          <a:bodyPr/>
          <a:lstStyle/>
          <a:p>
            <a:r>
              <a:rPr lang="en-US" sz="4400" dirty="0"/>
              <a:t>Using .Select() to Limit Fields</a:t>
            </a:r>
          </a:p>
        </p:txBody>
      </p:sp>
      <p:sp>
        <p:nvSpPr>
          <p:cNvPr id="3" name="Content Placeholder 2">
            <a:extLst>
              <a:ext uri="{FF2B5EF4-FFF2-40B4-BE49-F238E27FC236}">
                <a16:creationId xmlns:a16="http://schemas.microsoft.com/office/drawing/2014/main" id="{C12C2CBF-950C-CA43-90DF-A7D23C4F4B5B}"/>
              </a:ext>
            </a:extLst>
          </p:cNvPr>
          <p:cNvSpPr>
            <a:spLocks noGrp="1"/>
          </p:cNvSpPr>
          <p:nvPr>
            <p:ph idx="1"/>
          </p:nvPr>
        </p:nvSpPr>
        <p:spPr/>
        <p:txBody>
          <a:bodyPr/>
          <a:lstStyle/>
          <a:p>
            <a:pPr marL="0" indent="0">
              <a:buNone/>
            </a:pPr>
            <a:r>
              <a:rPr lang="en-US" sz="2800" dirty="0"/>
              <a:t>By using a custom entity:</a:t>
            </a:r>
          </a:p>
          <a:p>
            <a:pPr marL="0" indent="0">
              <a:buNone/>
            </a:pPr>
            <a:endParaRPr lang="en-US" sz="2800" dirty="0"/>
          </a:p>
          <a:p>
            <a:pPr marL="0" indent="0">
              <a:buNone/>
            </a:pPr>
            <a:endParaRPr lang="en-US" sz="2800" dirty="0"/>
          </a:p>
          <a:p>
            <a:pPr marL="0" indent="0">
              <a:buNone/>
            </a:pPr>
            <a:endParaRPr lang="en-US" sz="2800" dirty="0"/>
          </a:p>
          <a:p>
            <a:pPr marL="0" indent="0">
              <a:buNone/>
            </a:pPr>
            <a:r>
              <a:rPr lang="en-US" sz="2800" dirty="0"/>
              <a:t>And projecting our query:</a:t>
            </a:r>
          </a:p>
          <a:p>
            <a:pPr marL="0" indent="0">
              <a:buNone/>
            </a:pPr>
            <a:endParaRPr lang="en-US" sz="2800" dirty="0"/>
          </a:p>
          <a:p>
            <a:pPr marL="0" indent="0">
              <a:buNone/>
            </a:pPr>
            <a:endParaRPr lang="en-US" sz="2800" dirty="0"/>
          </a:p>
          <a:p>
            <a:pPr marL="0" indent="0">
              <a:buNone/>
            </a:pPr>
            <a:r>
              <a:rPr lang="en-US" sz="2800" dirty="0"/>
              <a:t>We get much smaller SQL (which will perform better with large data sets):</a:t>
            </a:r>
          </a:p>
        </p:txBody>
      </p:sp>
      <p:sp>
        <p:nvSpPr>
          <p:cNvPr id="4" name="Text Placeholder 3">
            <a:extLst>
              <a:ext uri="{FF2B5EF4-FFF2-40B4-BE49-F238E27FC236}">
                <a16:creationId xmlns:a16="http://schemas.microsoft.com/office/drawing/2014/main" id="{A9F06CB0-0C8D-234A-AE7A-2DBFFD81682A}"/>
              </a:ext>
            </a:extLst>
          </p:cNvPr>
          <p:cNvSpPr>
            <a:spLocks noGrp="1"/>
          </p:cNvSpPr>
          <p:nvPr>
            <p:ph type="body" sz="quarter" idx="13"/>
          </p:nvPr>
        </p:nvSpPr>
        <p:spPr/>
        <p:txBody>
          <a:bodyPr/>
          <a:lstStyle/>
          <a:p>
            <a:r>
              <a:rPr lang="en-US" dirty="0"/>
              <a:t>WARNING!</a:t>
            </a:r>
          </a:p>
        </p:txBody>
      </p:sp>
      <p:sp>
        <p:nvSpPr>
          <p:cNvPr id="5" name="Slide Number Placeholder 4">
            <a:extLst>
              <a:ext uri="{FF2B5EF4-FFF2-40B4-BE49-F238E27FC236}">
                <a16:creationId xmlns:a16="http://schemas.microsoft.com/office/drawing/2014/main" id="{73CB3AAB-9557-D64B-8E15-F04EDDB38564}"/>
              </a:ext>
            </a:extLst>
          </p:cNvPr>
          <p:cNvSpPr>
            <a:spLocks noGrp="1"/>
          </p:cNvSpPr>
          <p:nvPr>
            <p:ph type="sldNum" sz="quarter" idx="4"/>
          </p:nvPr>
        </p:nvSpPr>
        <p:spPr/>
        <p:txBody>
          <a:bodyPr/>
          <a:lstStyle/>
          <a:p>
            <a:fld id="{E1123682-AE52-6D45-865E-F1EB3AE0E340}" type="slidenum">
              <a:rPr lang="en-US" smtClean="0"/>
              <a:pPr/>
              <a:t>20</a:t>
            </a:fld>
            <a:endParaRPr lang="en-US" dirty="0"/>
          </a:p>
        </p:txBody>
      </p:sp>
      <p:pic>
        <p:nvPicPr>
          <p:cNvPr id="7" name="Picture 6" descr="Text&#10;&#10;Description automatically generated">
            <a:extLst>
              <a:ext uri="{FF2B5EF4-FFF2-40B4-BE49-F238E27FC236}">
                <a16:creationId xmlns:a16="http://schemas.microsoft.com/office/drawing/2014/main" id="{EE5DDE7C-B302-6E4F-9859-1A39A1521DC6}"/>
              </a:ext>
            </a:extLst>
          </p:cNvPr>
          <p:cNvPicPr>
            <a:picLocks noChangeAspect="1"/>
          </p:cNvPicPr>
          <p:nvPr/>
        </p:nvPicPr>
        <p:blipFill>
          <a:blip r:embed="rId2"/>
          <a:stretch>
            <a:fillRect/>
          </a:stretch>
        </p:blipFill>
        <p:spPr>
          <a:xfrm>
            <a:off x="4566684" y="1999176"/>
            <a:ext cx="2888512" cy="1384079"/>
          </a:xfrm>
          <a:prstGeom prst="rect">
            <a:avLst/>
          </a:prstGeom>
        </p:spPr>
      </p:pic>
      <p:pic>
        <p:nvPicPr>
          <p:cNvPr id="9" name="Picture 8">
            <a:extLst>
              <a:ext uri="{FF2B5EF4-FFF2-40B4-BE49-F238E27FC236}">
                <a16:creationId xmlns:a16="http://schemas.microsoft.com/office/drawing/2014/main" id="{DC33E8AC-35FC-0D4B-955B-74ECD65336E8}"/>
              </a:ext>
            </a:extLst>
          </p:cNvPr>
          <p:cNvPicPr>
            <a:picLocks noChangeAspect="1"/>
          </p:cNvPicPr>
          <p:nvPr/>
        </p:nvPicPr>
        <p:blipFill>
          <a:blip r:embed="rId3"/>
          <a:stretch>
            <a:fillRect/>
          </a:stretch>
        </p:blipFill>
        <p:spPr>
          <a:xfrm>
            <a:off x="2194590" y="4093535"/>
            <a:ext cx="7632700" cy="939800"/>
          </a:xfrm>
          <a:prstGeom prst="rect">
            <a:avLst/>
          </a:prstGeom>
        </p:spPr>
      </p:pic>
      <p:pic>
        <p:nvPicPr>
          <p:cNvPr id="11" name="Picture 10">
            <a:extLst>
              <a:ext uri="{FF2B5EF4-FFF2-40B4-BE49-F238E27FC236}">
                <a16:creationId xmlns:a16="http://schemas.microsoft.com/office/drawing/2014/main" id="{635DEBA9-356D-A245-A19C-896E198DB109}"/>
              </a:ext>
            </a:extLst>
          </p:cNvPr>
          <p:cNvPicPr>
            <a:picLocks noChangeAspect="1"/>
          </p:cNvPicPr>
          <p:nvPr/>
        </p:nvPicPr>
        <p:blipFill>
          <a:blip r:embed="rId4"/>
          <a:stretch>
            <a:fillRect/>
          </a:stretch>
        </p:blipFill>
        <p:spPr>
          <a:xfrm>
            <a:off x="1108740" y="5592764"/>
            <a:ext cx="9804400" cy="762000"/>
          </a:xfrm>
          <a:prstGeom prst="rect">
            <a:avLst/>
          </a:prstGeom>
        </p:spPr>
      </p:pic>
    </p:spTree>
    <p:extLst>
      <p:ext uri="{BB962C8B-B14F-4D97-AF65-F5344CB8AC3E}">
        <p14:creationId xmlns:p14="http://schemas.microsoft.com/office/powerpoint/2010/main" val="8295277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EE387-CCCC-C44D-B504-6D0928BF5A19}"/>
              </a:ext>
            </a:extLst>
          </p:cNvPr>
          <p:cNvSpPr>
            <a:spLocks noGrp="1"/>
          </p:cNvSpPr>
          <p:nvPr>
            <p:ph type="title"/>
          </p:nvPr>
        </p:nvSpPr>
        <p:spPr/>
        <p:txBody>
          <a:bodyPr/>
          <a:lstStyle/>
          <a:p>
            <a:r>
              <a:rPr lang="en-US" sz="4400" dirty="0"/>
              <a:t>To Async or Not to Async</a:t>
            </a:r>
          </a:p>
        </p:txBody>
      </p:sp>
      <p:sp>
        <p:nvSpPr>
          <p:cNvPr id="3" name="Content Placeholder 2">
            <a:extLst>
              <a:ext uri="{FF2B5EF4-FFF2-40B4-BE49-F238E27FC236}">
                <a16:creationId xmlns:a16="http://schemas.microsoft.com/office/drawing/2014/main" id="{DFB632E0-D0DC-3349-BA99-33C85F5B77D1}"/>
              </a:ext>
            </a:extLst>
          </p:cNvPr>
          <p:cNvSpPr>
            <a:spLocks noGrp="1"/>
          </p:cNvSpPr>
          <p:nvPr>
            <p:ph idx="1"/>
          </p:nvPr>
        </p:nvSpPr>
        <p:spPr/>
        <p:txBody>
          <a:bodyPr/>
          <a:lstStyle/>
          <a:p>
            <a:pPr marL="0" indent="0">
              <a:buNone/>
            </a:pPr>
            <a:r>
              <a:rPr lang="en-US" sz="2800" dirty="0"/>
              <a:t>All else being equal, this:</a:t>
            </a:r>
          </a:p>
          <a:p>
            <a:pPr marL="0" indent="0">
              <a:buNone/>
            </a:pPr>
            <a:endParaRPr lang="en-US" sz="2800" dirty="0"/>
          </a:p>
          <a:p>
            <a:pPr marL="0" indent="0">
              <a:buNone/>
            </a:pPr>
            <a:endParaRPr lang="en-US" sz="2800" dirty="0"/>
          </a:p>
          <a:p>
            <a:pPr marL="0" indent="0">
              <a:buNone/>
            </a:pPr>
            <a:r>
              <a:rPr lang="en-US" sz="2800" dirty="0"/>
              <a:t>Will perform better than this:</a:t>
            </a:r>
          </a:p>
          <a:p>
            <a:pPr marL="0" indent="0">
              <a:buNone/>
            </a:pPr>
            <a:endParaRPr lang="en-US" sz="2800" dirty="0"/>
          </a:p>
          <a:p>
            <a:pPr marL="0" indent="0">
              <a:buNone/>
            </a:pPr>
            <a:endParaRPr lang="en-US" sz="2800" dirty="0"/>
          </a:p>
          <a:p>
            <a:pPr marL="0" indent="0">
              <a:buNone/>
            </a:pPr>
            <a:r>
              <a:rPr lang="en-US" sz="2800" dirty="0"/>
              <a:t>Because the runtime will be able to use the executing thread to do other work. In systems that see few users, the difference is negligible, but under load, you will see more responsiveness</a:t>
            </a:r>
          </a:p>
        </p:txBody>
      </p:sp>
      <p:sp>
        <p:nvSpPr>
          <p:cNvPr id="4" name="Text Placeholder 3">
            <a:extLst>
              <a:ext uri="{FF2B5EF4-FFF2-40B4-BE49-F238E27FC236}">
                <a16:creationId xmlns:a16="http://schemas.microsoft.com/office/drawing/2014/main" id="{113C29F8-3116-6748-8486-4C2130F6ED41}"/>
              </a:ext>
            </a:extLst>
          </p:cNvPr>
          <p:cNvSpPr>
            <a:spLocks noGrp="1"/>
          </p:cNvSpPr>
          <p:nvPr>
            <p:ph type="body" sz="quarter" idx="13"/>
          </p:nvPr>
        </p:nvSpPr>
        <p:spPr/>
        <p:txBody>
          <a:bodyPr/>
          <a:lstStyle/>
          <a:p>
            <a:r>
              <a:rPr lang="en-US" dirty="0"/>
              <a:t>WARNING!</a:t>
            </a:r>
          </a:p>
        </p:txBody>
      </p:sp>
      <p:sp>
        <p:nvSpPr>
          <p:cNvPr id="5" name="Slide Number Placeholder 4">
            <a:extLst>
              <a:ext uri="{FF2B5EF4-FFF2-40B4-BE49-F238E27FC236}">
                <a16:creationId xmlns:a16="http://schemas.microsoft.com/office/drawing/2014/main" id="{8134437E-EBC2-134F-93CC-1AEC880C2FFA}"/>
              </a:ext>
            </a:extLst>
          </p:cNvPr>
          <p:cNvSpPr>
            <a:spLocks noGrp="1"/>
          </p:cNvSpPr>
          <p:nvPr>
            <p:ph type="sldNum" sz="quarter" idx="4"/>
          </p:nvPr>
        </p:nvSpPr>
        <p:spPr/>
        <p:txBody>
          <a:bodyPr/>
          <a:lstStyle/>
          <a:p>
            <a:fld id="{E1123682-AE52-6D45-865E-F1EB3AE0E340}" type="slidenum">
              <a:rPr lang="en-US" smtClean="0"/>
              <a:pPr/>
              <a:t>21</a:t>
            </a:fld>
            <a:endParaRPr lang="en-US" dirty="0"/>
          </a:p>
        </p:txBody>
      </p:sp>
      <p:pic>
        <p:nvPicPr>
          <p:cNvPr id="7" name="Picture 6">
            <a:extLst>
              <a:ext uri="{FF2B5EF4-FFF2-40B4-BE49-F238E27FC236}">
                <a16:creationId xmlns:a16="http://schemas.microsoft.com/office/drawing/2014/main" id="{2EE6F868-AB96-FE4C-A805-7BCBE5F87D08}"/>
              </a:ext>
            </a:extLst>
          </p:cNvPr>
          <p:cNvPicPr>
            <a:picLocks noChangeAspect="1"/>
          </p:cNvPicPr>
          <p:nvPr/>
        </p:nvPicPr>
        <p:blipFill>
          <a:blip r:embed="rId2"/>
          <a:stretch>
            <a:fillRect/>
          </a:stretch>
        </p:blipFill>
        <p:spPr>
          <a:xfrm>
            <a:off x="1193405" y="2237794"/>
            <a:ext cx="9805189" cy="512977"/>
          </a:xfrm>
          <a:prstGeom prst="rect">
            <a:avLst/>
          </a:prstGeom>
        </p:spPr>
      </p:pic>
      <p:pic>
        <p:nvPicPr>
          <p:cNvPr id="9" name="Picture 8">
            <a:extLst>
              <a:ext uri="{FF2B5EF4-FFF2-40B4-BE49-F238E27FC236}">
                <a16:creationId xmlns:a16="http://schemas.microsoft.com/office/drawing/2014/main" id="{8CF94124-B32D-6544-A5F3-989F4F331366}"/>
              </a:ext>
            </a:extLst>
          </p:cNvPr>
          <p:cNvPicPr>
            <a:picLocks noChangeAspect="1"/>
          </p:cNvPicPr>
          <p:nvPr/>
        </p:nvPicPr>
        <p:blipFill>
          <a:blip r:embed="rId3"/>
          <a:stretch>
            <a:fillRect/>
          </a:stretch>
        </p:blipFill>
        <p:spPr>
          <a:xfrm>
            <a:off x="1193405" y="3795265"/>
            <a:ext cx="9805189" cy="465331"/>
          </a:xfrm>
          <a:prstGeom prst="rect">
            <a:avLst/>
          </a:prstGeom>
        </p:spPr>
      </p:pic>
    </p:spTree>
    <p:extLst>
      <p:ext uri="{BB962C8B-B14F-4D97-AF65-F5344CB8AC3E}">
        <p14:creationId xmlns:p14="http://schemas.microsoft.com/office/powerpoint/2010/main" val="5610927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47E77B-C3F2-E544-B977-B5F0B88E5043}"/>
              </a:ext>
            </a:extLst>
          </p:cNvPr>
          <p:cNvSpPr>
            <a:spLocks noGrp="1"/>
          </p:cNvSpPr>
          <p:nvPr>
            <p:ph type="title"/>
          </p:nvPr>
        </p:nvSpPr>
        <p:spPr/>
        <p:txBody>
          <a:bodyPr/>
          <a:lstStyle/>
          <a:p>
            <a:r>
              <a:rPr lang="en-US" sz="4400" dirty="0"/>
              <a:t>A Note On SQL Server Indexing</a:t>
            </a:r>
          </a:p>
        </p:txBody>
      </p:sp>
      <p:sp>
        <p:nvSpPr>
          <p:cNvPr id="3" name="Content Placeholder 2">
            <a:extLst>
              <a:ext uri="{FF2B5EF4-FFF2-40B4-BE49-F238E27FC236}">
                <a16:creationId xmlns:a16="http://schemas.microsoft.com/office/drawing/2014/main" id="{F223AC81-F61C-8449-B52D-BD1375658C82}"/>
              </a:ext>
            </a:extLst>
          </p:cNvPr>
          <p:cNvSpPr>
            <a:spLocks noGrp="1"/>
          </p:cNvSpPr>
          <p:nvPr>
            <p:ph idx="1"/>
          </p:nvPr>
        </p:nvSpPr>
        <p:spPr/>
        <p:txBody>
          <a:bodyPr/>
          <a:lstStyle/>
          <a:p>
            <a:r>
              <a:rPr lang="en-US" sz="2800" dirty="0"/>
              <a:t>Indexes are great – they help speed up retrieval of data</a:t>
            </a:r>
          </a:p>
          <a:p>
            <a:r>
              <a:rPr lang="en-US" sz="2800" dirty="0"/>
              <a:t>They also slow inserts, updates, and deletes due to needing to update the indexes</a:t>
            </a:r>
          </a:p>
          <a:p>
            <a:r>
              <a:rPr lang="en-US" sz="2800" dirty="0"/>
              <a:t>String indexes (VARCHAR and NVARCHAR) are only used when there is an equality operation or a trailing wild card (i.e., </a:t>
            </a:r>
            <a:r>
              <a:rPr lang="en-US" sz="2800" dirty="0" err="1">
                <a:latin typeface="Consolas" panose="020B0609020204030204" pitchFamily="49" charset="0"/>
                <a:cs typeface="Consolas" panose="020B0609020204030204" pitchFamily="49" charset="0"/>
              </a:rPr>
              <a:t>StartsWith</a:t>
            </a:r>
            <a:r>
              <a:rPr lang="en-US" sz="2800" dirty="0">
                <a:latin typeface="Consolas" panose="020B0609020204030204" pitchFamily="49" charset="0"/>
                <a:cs typeface="Consolas" panose="020B0609020204030204" pitchFamily="49" charset="0"/>
              </a:rPr>
              <a:t>()</a:t>
            </a:r>
            <a:r>
              <a:rPr lang="en-US" sz="2800" dirty="0"/>
              <a:t> in C# parlance)</a:t>
            </a:r>
          </a:p>
          <a:p>
            <a:r>
              <a:rPr lang="en-US" sz="2800" dirty="0"/>
              <a:t>Generally, indexes will not be used when an operation is used on the column in question (e.g., </a:t>
            </a:r>
            <a:r>
              <a:rPr lang="en-US" sz="2800" dirty="0" err="1">
                <a:latin typeface="Consolas" panose="020B0609020204030204" pitchFamily="49" charset="0"/>
                <a:cs typeface="Consolas" panose="020B0609020204030204" pitchFamily="49" charset="0"/>
              </a:rPr>
              <a:t>AnswerCount</a:t>
            </a:r>
            <a:r>
              <a:rPr lang="en-US" sz="2800" dirty="0">
                <a:latin typeface="Consolas" panose="020B0609020204030204" pitchFamily="49" charset="0"/>
                <a:cs typeface="Consolas" panose="020B0609020204030204" pitchFamily="49" charset="0"/>
              </a:rPr>
              <a:t> / 2</a:t>
            </a:r>
            <a:r>
              <a:rPr lang="en-US" sz="2800" dirty="0"/>
              <a:t>)</a:t>
            </a:r>
          </a:p>
          <a:p>
            <a:r>
              <a:rPr lang="en-US" sz="2800" dirty="0"/>
              <a:t>Reach out to your DBA team – believe me, they want to help!</a:t>
            </a:r>
          </a:p>
        </p:txBody>
      </p:sp>
      <p:sp>
        <p:nvSpPr>
          <p:cNvPr id="4" name="Text Placeholder 3">
            <a:extLst>
              <a:ext uri="{FF2B5EF4-FFF2-40B4-BE49-F238E27FC236}">
                <a16:creationId xmlns:a16="http://schemas.microsoft.com/office/drawing/2014/main" id="{2E9106A2-8F5E-A048-83D3-EA7DE785EBE8}"/>
              </a:ext>
            </a:extLst>
          </p:cNvPr>
          <p:cNvSpPr>
            <a:spLocks noGrp="1"/>
          </p:cNvSpPr>
          <p:nvPr>
            <p:ph type="body" sz="quarter" idx="13"/>
          </p:nvPr>
        </p:nvSpPr>
        <p:spPr/>
        <p:txBody>
          <a:bodyPr/>
          <a:lstStyle/>
          <a:p>
            <a:r>
              <a:rPr lang="en-US" dirty="0"/>
              <a:t>WARNING!</a:t>
            </a:r>
          </a:p>
        </p:txBody>
      </p:sp>
      <p:sp>
        <p:nvSpPr>
          <p:cNvPr id="5" name="Slide Number Placeholder 4">
            <a:extLst>
              <a:ext uri="{FF2B5EF4-FFF2-40B4-BE49-F238E27FC236}">
                <a16:creationId xmlns:a16="http://schemas.microsoft.com/office/drawing/2014/main" id="{52A712AA-D4AB-7D47-863B-CC5CE828CAD3}"/>
              </a:ext>
            </a:extLst>
          </p:cNvPr>
          <p:cNvSpPr>
            <a:spLocks noGrp="1"/>
          </p:cNvSpPr>
          <p:nvPr>
            <p:ph type="sldNum" sz="quarter" idx="4"/>
          </p:nvPr>
        </p:nvSpPr>
        <p:spPr/>
        <p:txBody>
          <a:bodyPr/>
          <a:lstStyle/>
          <a:p>
            <a:fld id="{E1123682-AE52-6D45-865E-F1EB3AE0E340}" type="slidenum">
              <a:rPr lang="en-US" smtClean="0"/>
              <a:pPr/>
              <a:t>22</a:t>
            </a:fld>
            <a:endParaRPr lang="en-US" dirty="0"/>
          </a:p>
        </p:txBody>
      </p:sp>
    </p:spTree>
    <p:extLst>
      <p:ext uri="{BB962C8B-B14F-4D97-AF65-F5344CB8AC3E}">
        <p14:creationId xmlns:p14="http://schemas.microsoft.com/office/powerpoint/2010/main" val="9347412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52D11DC-3BA1-C445-A612-3EE402F6720B}"/>
              </a:ext>
            </a:extLst>
          </p:cNvPr>
          <p:cNvSpPr>
            <a:spLocks noGrp="1"/>
          </p:cNvSpPr>
          <p:nvPr>
            <p:ph type="body" sz="quarter" idx="10"/>
          </p:nvPr>
        </p:nvSpPr>
        <p:spPr/>
        <p:txBody>
          <a:bodyPr/>
          <a:lstStyle/>
          <a:p>
            <a:r>
              <a:rPr lang="en-US" dirty="0"/>
              <a:t>Database Design – You Only Get One Chance</a:t>
            </a:r>
          </a:p>
        </p:txBody>
      </p:sp>
      <p:sp>
        <p:nvSpPr>
          <p:cNvPr id="5" name="Slide Number Placeholder 4">
            <a:extLst>
              <a:ext uri="{FF2B5EF4-FFF2-40B4-BE49-F238E27FC236}">
                <a16:creationId xmlns:a16="http://schemas.microsoft.com/office/drawing/2014/main" id="{A4838144-F9F9-A644-9A5B-3166F4352BD5}"/>
              </a:ext>
            </a:extLst>
          </p:cNvPr>
          <p:cNvSpPr>
            <a:spLocks noGrp="1"/>
          </p:cNvSpPr>
          <p:nvPr>
            <p:ph type="sldNum" sz="quarter" idx="4"/>
          </p:nvPr>
        </p:nvSpPr>
        <p:spPr/>
        <p:txBody>
          <a:bodyPr/>
          <a:lstStyle/>
          <a:p>
            <a:fld id="{E1123682-AE52-6D45-865E-F1EB3AE0E340}" type="slidenum">
              <a:rPr lang="en-US" smtClean="0"/>
              <a:pPr/>
              <a:t>23</a:t>
            </a:fld>
            <a:endParaRPr lang="en-US" dirty="0"/>
          </a:p>
        </p:txBody>
      </p:sp>
    </p:spTree>
    <p:extLst>
      <p:ext uri="{BB962C8B-B14F-4D97-AF65-F5344CB8AC3E}">
        <p14:creationId xmlns:p14="http://schemas.microsoft.com/office/powerpoint/2010/main" val="31120307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D8A0916-83CE-814A-B736-7A5B1A689A15}"/>
              </a:ext>
            </a:extLst>
          </p:cNvPr>
          <p:cNvSpPr>
            <a:spLocks noGrp="1"/>
          </p:cNvSpPr>
          <p:nvPr>
            <p:ph type="title"/>
          </p:nvPr>
        </p:nvSpPr>
        <p:spPr/>
        <p:txBody>
          <a:bodyPr/>
          <a:lstStyle/>
          <a:p>
            <a:r>
              <a:rPr lang="en-US" sz="4400" dirty="0"/>
              <a:t>General Guidance</a:t>
            </a:r>
          </a:p>
        </p:txBody>
      </p:sp>
      <p:sp>
        <p:nvSpPr>
          <p:cNvPr id="6" name="Text Placeholder 5">
            <a:extLst>
              <a:ext uri="{FF2B5EF4-FFF2-40B4-BE49-F238E27FC236}">
                <a16:creationId xmlns:a16="http://schemas.microsoft.com/office/drawing/2014/main" id="{0295C917-8B2F-624F-B6E1-C052D04FA8DF}"/>
              </a:ext>
            </a:extLst>
          </p:cNvPr>
          <p:cNvSpPr>
            <a:spLocks noGrp="1"/>
          </p:cNvSpPr>
          <p:nvPr>
            <p:ph type="body" sz="quarter" idx="13"/>
          </p:nvPr>
        </p:nvSpPr>
        <p:spPr/>
        <p:txBody>
          <a:bodyPr/>
          <a:lstStyle/>
          <a:p>
            <a:r>
              <a:rPr lang="en-US" dirty="0"/>
              <a:t>DATABASE DESIGN</a:t>
            </a:r>
          </a:p>
        </p:txBody>
      </p:sp>
      <p:sp>
        <p:nvSpPr>
          <p:cNvPr id="3" name="Slide Number Placeholder 2">
            <a:extLst>
              <a:ext uri="{FF2B5EF4-FFF2-40B4-BE49-F238E27FC236}">
                <a16:creationId xmlns:a16="http://schemas.microsoft.com/office/drawing/2014/main" id="{6FA03D9A-47BE-3743-9EA4-48D809EB15A2}"/>
              </a:ext>
            </a:extLst>
          </p:cNvPr>
          <p:cNvSpPr>
            <a:spLocks noGrp="1"/>
          </p:cNvSpPr>
          <p:nvPr>
            <p:ph type="sldNum" sz="quarter" idx="4"/>
          </p:nvPr>
        </p:nvSpPr>
        <p:spPr/>
        <p:txBody>
          <a:bodyPr/>
          <a:lstStyle/>
          <a:p>
            <a:fld id="{E1123682-AE52-6D45-865E-F1EB3AE0E340}" type="slidenum">
              <a:rPr lang="en-US" smtClean="0"/>
              <a:pPr/>
              <a:t>24</a:t>
            </a:fld>
            <a:endParaRPr lang="en-US" dirty="0"/>
          </a:p>
        </p:txBody>
      </p:sp>
      <p:grpSp>
        <p:nvGrpSpPr>
          <p:cNvPr id="7" name="Group 6">
            <a:extLst>
              <a:ext uri="{FF2B5EF4-FFF2-40B4-BE49-F238E27FC236}">
                <a16:creationId xmlns:a16="http://schemas.microsoft.com/office/drawing/2014/main" id="{8F575FEF-EEB5-A34B-9E74-0DDAB57E0AF4}"/>
              </a:ext>
            </a:extLst>
          </p:cNvPr>
          <p:cNvGrpSpPr/>
          <p:nvPr/>
        </p:nvGrpSpPr>
        <p:grpSpPr>
          <a:xfrm>
            <a:off x="609600" y="4739957"/>
            <a:ext cx="686867" cy="575097"/>
            <a:chOff x="609600" y="1648985"/>
            <a:chExt cx="1145727" cy="959289"/>
          </a:xfrm>
        </p:grpSpPr>
        <p:sp>
          <p:nvSpPr>
            <p:cNvPr id="8" name="Diamond 7">
              <a:extLst>
                <a:ext uri="{FF2B5EF4-FFF2-40B4-BE49-F238E27FC236}">
                  <a16:creationId xmlns:a16="http://schemas.microsoft.com/office/drawing/2014/main" id="{40FC8BF4-1B25-D04E-B2BC-B7249D8AA59D}"/>
                </a:ext>
              </a:extLst>
            </p:cNvPr>
            <p:cNvSpPr/>
            <p:nvPr/>
          </p:nvSpPr>
          <p:spPr>
            <a:xfrm>
              <a:off x="1078992" y="1789193"/>
              <a:ext cx="676335" cy="676335"/>
            </a:xfrm>
            <a:prstGeom prst="diamond">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Diamond 8">
              <a:extLst>
                <a:ext uri="{FF2B5EF4-FFF2-40B4-BE49-F238E27FC236}">
                  <a16:creationId xmlns:a16="http://schemas.microsoft.com/office/drawing/2014/main" id="{50F43B05-90B7-A74E-9E2B-7F97B1328F0A}"/>
                </a:ext>
              </a:extLst>
            </p:cNvPr>
            <p:cNvSpPr/>
            <p:nvPr/>
          </p:nvSpPr>
          <p:spPr>
            <a:xfrm>
              <a:off x="609600" y="1648985"/>
              <a:ext cx="959289" cy="959289"/>
            </a:xfrm>
            <a:prstGeom prst="diamond">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 name="Group 9">
            <a:extLst>
              <a:ext uri="{FF2B5EF4-FFF2-40B4-BE49-F238E27FC236}">
                <a16:creationId xmlns:a16="http://schemas.microsoft.com/office/drawing/2014/main" id="{6BE285AD-7650-594C-8A6A-66E8248CA72F}"/>
              </a:ext>
            </a:extLst>
          </p:cNvPr>
          <p:cNvGrpSpPr/>
          <p:nvPr/>
        </p:nvGrpSpPr>
        <p:grpSpPr>
          <a:xfrm>
            <a:off x="5743809" y="3169950"/>
            <a:ext cx="686867" cy="575097"/>
            <a:chOff x="609600" y="1648985"/>
            <a:chExt cx="1145727" cy="959289"/>
          </a:xfrm>
        </p:grpSpPr>
        <p:sp>
          <p:nvSpPr>
            <p:cNvPr id="11" name="Diamond 10">
              <a:extLst>
                <a:ext uri="{FF2B5EF4-FFF2-40B4-BE49-F238E27FC236}">
                  <a16:creationId xmlns:a16="http://schemas.microsoft.com/office/drawing/2014/main" id="{D004E7B4-B297-A040-825C-E038898991D4}"/>
                </a:ext>
              </a:extLst>
            </p:cNvPr>
            <p:cNvSpPr/>
            <p:nvPr/>
          </p:nvSpPr>
          <p:spPr>
            <a:xfrm>
              <a:off x="1078992" y="1789193"/>
              <a:ext cx="676335" cy="676335"/>
            </a:xfrm>
            <a:prstGeom prst="diamond">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Diamond 11">
              <a:extLst>
                <a:ext uri="{FF2B5EF4-FFF2-40B4-BE49-F238E27FC236}">
                  <a16:creationId xmlns:a16="http://schemas.microsoft.com/office/drawing/2014/main" id="{40F35BA0-3C32-0242-93B0-0B2C43EE487B}"/>
                </a:ext>
              </a:extLst>
            </p:cNvPr>
            <p:cNvSpPr/>
            <p:nvPr/>
          </p:nvSpPr>
          <p:spPr>
            <a:xfrm>
              <a:off x="609600" y="1648985"/>
              <a:ext cx="959289" cy="959289"/>
            </a:xfrm>
            <a:prstGeom prst="diamond">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a16="http://schemas.microsoft.com/office/drawing/2014/main" id="{4CC81033-C19D-7D41-9AF3-7E6FA0B9B317}"/>
              </a:ext>
            </a:extLst>
          </p:cNvPr>
          <p:cNvGrpSpPr/>
          <p:nvPr/>
        </p:nvGrpSpPr>
        <p:grpSpPr>
          <a:xfrm>
            <a:off x="5747716" y="1608995"/>
            <a:ext cx="686867" cy="575097"/>
            <a:chOff x="609600" y="1648985"/>
            <a:chExt cx="1145727" cy="959289"/>
          </a:xfrm>
        </p:grpSpPr>
        <p:sp>
          <p:nvSpPr>
            <p:cNvPr id="14" name="Diamond 13">
              <a:extLst>
                <a:ext uri="{FF2B5EF4-FFF2-40B4-BE49-F238E27FC236}">
                  <a16:creationId xmlns:a16="http://schemas.microsoft.com/office/drawing/2014/main" id="{7787B6C0-D2E5-EC44-A8D3-51750DF907D1}"/>
                </a:ext>
              </a:extLst>
            </p:cNvPr>
            <p:cNvSpPr/>
            <p:nvPr/>
          </p:nvSpPr>
          <p:spPr>
            <a:xfrm>
              <a:off x="1078992" y="1789193"/>
              <a:ext cx="676335" cy="676335"/>
            </a:xfrm>
            <a:prstGeom prst="diamond">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Diamond 14">
              <a:extLst>
                <a:ext uri="{FF2B5EF4-FFF2-40B4-BE49-F238E27FC236}">
                  <a16:creationId xmlns:a16="http://schemas.microsoft.com/office/drawing/2014/main" id="{D74613B6-1DBF-B14C-B52A-741C63780834}"/>
                </a:ext>
              </a:extLst>
            </p:cNvPr>
            <p:cNvSpPr/>
            <p:nvPr/>
          </p:nvSpPr>
          <p:spPr>
            <a:xfrm>
              <a:off x="609600" y="1648985"/>
              <a:ext cx="959289" cy="959289"/>
            </a:xfrm>
            <a:prstGeom prst="diamond">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E1F2012E-DCB4-B042-8973-EB8BE4397D53}"/>
              </a:ext>
            </a:extLst>
          </p:cNvPr>
          <p:cNvGrpSpPr/>
          <p:nvPr/>
        </p:nvGrpSpPr>
        <p:grpSpPr>
          <a:xfrm>
            <a:off x="5760269" y="4729683"/>
            <a:ext cx="686867" cy="575097"/>
            <a:chOff x="609600" y="1648985"/>
            <a:chExt cx="1145727" cy="959289"/>
          </a:xfrm>
        </p:grpSpPr>
        <p:sp>
          <p:nvSpPr>
            <p:cNvPr id="17" name="Diamond 16">
              <a:extLst>
                <a:ext uri="{FF2B5EF4-FFF2-40B4-BE49-F238E27FC236}">
                  <a16:creationId xmlns:a16="http://schemas.microsoft.com/office/drawing/2014/main" id="{344A6256-85CC-ED42-BE89-4EBD889B49BC}"/>
                </a:ext>
              </a:extLst>
            </p:cNvPr>
            <p:cNvSpPr/>
            <p:nvPr/>
          </p:nvSpPr>
          <p:spPr>
            <a:xfrm>
              <a:off x="1078992" y="1789193"/>
              <a:ext cx="676335" cy="676335"/>
            </a:xfrm>
            <a:prstGeom prst="diamond">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iamond 17">
              <a:extLst>
                <a:ext uri="{FF2B5EF4-FFF2-40B4-BE49-F238E27FC236}">
                  <a16:creationId xmlns:a16="http://schemas.microsoft.com/office/drawing/2014/main" id="{F45E49F2-C76E-F84C-AAA2-24F1AC01FDA4}"/>
                </a:ext>
              </a:extLst>
            </p:cNvPr>
            <p:cNvSpPr/>
            <p:nvPr/>
          </p:nvSpPr>
          <p:spPr>
            <a:xfrm>
              <a:off x="609600" y="1648985"/>
              <a:ext cx="959289" cy="959289"/>
            </a:xfrm>
            <a:prstGeom prst="diamond">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 name="Group 18">
            <a:extLst>
              <a:ext uri="{FF2B5EF4-FFF2-40B4-BE49-F238E27FC236}">
                <a16:creationId xmlns:a16="http://schemas.microsoft.com/office/drawing/2014/main" id="{60FFDD2A-67BF-574D-8266-F3416DBD7AF8}"/>
              </a:ext>
            </a:extLst>
          </p:cNvPr>
          <p:cNvGrpSpPr/>
          <p:nvPr/>
        </p:nvGrpSpPr>
        <p:grpSpPr>
          <a:xfrm>
            <a:off x="593140" y="3169950"/>
            <a:ext cx="686867" cy="575097"/>
            <a:chOff x="609600" y="1648985"/>
            <a:chExt cx="1145727" cy="959289"/>
          </a:xfrm>
        </p:grpSpPr>
        <p:sp>
          <p:nvSpPr>
            <p:cNvPr id="20" name="Diamond 19">
              <a:extLst>
                <a:ext uri="{FF2B5EF4-FFF2-40B4-BE49-F238E27FC236}">
                  <a16:creationId xmlns:a16="http://schemas.microsoft.com/office/drawing/2014/main" id="{862AB6B5-D8D7-B64E-BC78-A2DE8B017BD7}"/>
                </a:ext>
              </a:extLst>
            </p:cNvPr>
            <p:cNvSpPr/>
            <p:nvPr/>
          </p:nvSpPr>
          <p:spPr>
            <a:xfrm>
              <a:off x="1078992" y="1789193"/>
              <a:ext cx="676335" cy="676335"/>
            </a:xfrm>
            <a:prstGeom prst="diamond">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Diamond 20">
              <a:extLst>
                <a:ext uri="{FF2B5EF4-FFF2-40B4-BE49-F238E27FC236}">
                  <a16:creationId xmlns:a16="http://schemas.microsoft.com/office/drawing/2014/main" id="{A6188C16-F021-004B-AB1A-980D0E1D7D19}"/>
                </a:ext>
              </a:extLst>
            </p:cNvPr>
            <p:cNvSpPr/>
            <p:nvPr/>
          </p:nvSpPr>
          <p:spPr>
            <a:xfrm>
              <a:off x="609600" y="1648985"/>
              <a:ext cx="959289" cy="959289"/>
            </a:xfrm>
            <a:prstGeom prst="diamond">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2" name="Group 21">
            <a:extLst>
              <a:ext uri="{FF2B5EF4-FFF2-40B4-BE49-F238E27FC236}">
                <a16:creationId xmlns:a16="http://schemas.microsoft.com/office/drawing/2014/main" id="{18052D23-4B1F-8941-84DB-F2E70345E0E2}"/>
              </a:ext>
            </a:extLst>
          </p:cNvPr>
          <p:cNvGrpSpPr/>
          <p:nvPr/>
        </p:nvGrpSpPr>
        <p:grpSpPr>
          <a:xfrm>
            <a:off x="593140" y="1638797"/>
            <a:ext cx="686867" cy="575097"/>
            <a:chOff x="609600" y="1648985"/>
            <a:chExt cx="1145727" cy="959289"/>
          </a:xfrm>
        </p:grpSpPr>
        <p:sp>
          <p:nvSpPr>
            <p:cNvPr id="23" name="Diamond 22">
              <a:extLst>
                <a:ext uri="{FF2B5EF4-FFF2-40B4-BE49-F238E27FC236}">
                  <a16:creationId xmlns:a16="http://schemas.microsoft.com/office/drawing/2014/main" id="{B6E11305-8895-ED40-B483-B232574F1AD4}"/>
                </a:ext>
              </a:extLst>
            </p:cNvPr>
            <p:cNvSpPr/>
            <p:nvPr/>
          </p:nvSpPr>
          <p:spPr>
            <a:xfrm>
              <a:off x="1078992" y="1789193"/>
              <a:ext cx="676335" cy="676335"/>
            </a:xfrm>
            <a:prstGeom prst="diamond">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Diamond 23">
              <a:extLst>
                <a:ext uri="{FF2B5EF4-FFF2-40B4-BE49-F238E27FC236}">
                  <a16:creationId xmlns:a16="http://schemas.microsoft.com/office/drawing/2014/main" id="{3885401B-0F7E-5C42-9DA1-A98014A3AA9E}"/>
                </a:ext>
              </a:extLst>
            </p:cNvPr>
            <p:cNvSpPr/>
            <p:nvPr/>
          </p:nvSpPr>
          <p:spPr>
            <a:xfrm>
              <a:off x="609600" y="1648985"/>
              <a:ext cx="959289" cy="959289"/>
            </a:xfrm>
            <a:prstGeom prst="diamond">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Rectangle 24">
            <a:extLst>
              <a:ext uri="{FF2B5EF4-FFF2-40B4-BE49-F238E27FC236}">
                <a16:creationId xmlns:a16="http://schemas.microsoft.com/office/drawing/2014/main" id="{ED6F6719-85ED-564E-85DA-D4A9303A758B}"/>
              </a:ext>
            </a:extLst>
          </p:cNvPr>
          <p:cNvSpPr/>
          <p:nvPr/>
        </p:nvSpPr>
        <p:spPr>
          <a:xfrm>
            <a:off x="1280007" y="1758740"/>
            <a:ext cx="2616680" cy="27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600" dirty="0">
                <a:solidFill>
                  <a:schemeClr val="bg2"/>
                </a:solidFill>
              </a:rPr>
              <a:t>DO IT RIGHT THE FIRST TIME</a:t>
            </a:r>
          </a:p>
        </p:txBody>
      </p:sp>
      <p:sp>
        <p:nvSpPr>
          <p:cNvPr id="26" name="Rectangle 25">
            <a:extLst>
              <a:ext uri="{FF2B5EF4-FFF2-40B4-BE49-F238E27FC236}">
                <a16:creationId xmlns:a16="http://schemas.microsoft.com/office/drawing/2014/main" id="{6329A0EB-DB8D-FF4A-A147-EC1127AAC5EF}"/>
              </a:ext>
            </a:extLst>
          </p:cNvPr>
          <p:cNvSpPr/>
          <p:nvPr/>
        </p:nvSpPr>
        <p:spPr>
          <a:xfrm>
            <a:off x="1280006" y="2227306"/>
            <a:ext cx="4185129" cy="1187566"/>
          </a:xfrm>
          <a:prstGeom prst="rect">
            <a:avLst/>
          </a:prstGeom>
          <a:no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7023" tIns="74958" rIns="87023" bIns="74958" numCol="1" spcCol="1270" anchor="t" anchorCtr="0">
            <a:noAutofit/>
          </a:bodyPr>
          <a:lstStyle/>
          <a:p>
            <a:pPr marL="3663" lvl="1"/>
            <a:r>
              <a:rPr lang="en-US" altLang="ja-JP" sz="1600" dirty="0">
                <a:solidFill>
                  <a:schemeClr val="tx1"/>
                </a:solidFill>
              </a:rPr>
              <a:t>You can only design your database the right way once – so get it right the first time! Think about the proper design patterns!</a:t>
            </a:r>
          </a:p>
        </p:txBody>
      </p:sp>
      <p:sp>
        <p:nvSpPr>
          <p:cNvPr id="27" name="Rectangle 26">
            <a:extLst>
              <a:ext uri="{FF2B5EF4-FFF2-40B4-BE49-F238E27FC236}">
                <a16:creationId xmlns:a16="http://schemas.microsoft.com/office/drawing/2014/main" id="{0A1ADD4E-D823-9A4B-9413-B646A78A635B}"/>
              </a:ext>
            </a:extLst>
          </p:cNvPr>
          <p:cNvSpPr/>
          <p:nvPr/>
        </p:nvSpPr>
        <p:spPr>
          <a:xfrm>
            <a:off x="6425030" y="1758740"/>
            <a:ext cx="3325025" cy="27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600" dirty="0">
                <a:solidFill>
                  <a:schemeClr val="bg2"/>
                </a:solidFill>
              </a:rPr>
              <a:t>POOR DESIGN = POOR PERFORMANCE</a:t>
            </a:r>
          </a:p>
        </p:txBody>
      </p:sp>
      <p:sp>
        <p:nvSpPr>
          <p:cNvPr id="28" name="Rectangle 27">
            <a:extLst>
              <a:ext uri="{FF2B5EF4-FFF2-40B4-BE49-F238E27FC236}">
                <a16:creationId xmlns:a16="http://schemas.microsoft.com/office/drawing/2014/main" id="{20B66531-F6EC-7E4E-BC7D-575C8A24E751}"/>
              </a:ext>
            </a:extLst>
          </p:cNvPr>
          <p:cNvSpPr/>
          <p:nvPr/>
        </p:nvSpPr>
        <p:spPr>
          <a:xfrm>
            <a:off x="6425030" y="2217423"/>
            <a:ext cx="4185129" cy="1187566"/>
          </a:xfrm>
          <a:prstGeom prst="rect">
            <a:avLst/>
          </a:prstGeom>
          <a:no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7023" tIns="74958" rIns="87023" bIns="74958" numCol="1" spcCol="1270" anchor="t" anchorCtr="0">
            <a:noAutofit/>
          </a:bodyPr>
          <a:lstStyle/>
          <a:p>
            <a:pPr marL="3663" lvl="1"/>
            <a:r>
              <a:rPr lang="en-US" altLang="ja-JP" sz="1600" dirty="0">
                <a:solidFill>
                  <a:schemeClr val="tx1"/>
                </a:solidFill>
              </a:rPr>
              <a:t>If the original design is poor, we will always be fighting it, and nothing we have talked about will fix the root cause</a:t>
            </a:r>
          </a:p>
        </p:txBody>
      </p:sp>
      <p:sp>
        <p:nvSpPr>
          <p:cNvPr id="29" name="Rectangle 28">
            <a:extLst>
              <a:ext uri="{FF2B5EF4-FFF2-40B4-BE49-F238E27FC236}">
                <a16:creationId xmlns:a16="http://schemas.microsoft.com/office/drawing/2014/main" id="{411F65B9-FDB7-8F44-8424-C7341ABA84A0}"/>
              </a:ext>
            </a:extLst>
          </p:cNvPr>
          <p:cNvSpPr/>
          <p:nvPr/>
        </p:nvSpPr>
        <p:spPr>
          <a:xfrm>
            <a:off x="1280007" y="3319695"/>
            <a:ext cx="3036812" cy="27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600" dirty="0">
                <a:solidFill>
                  <a:schemeClr val="bg2"/>
                </a:solidFill>
              </a:rPr>
              <a:t>DESIGN FOR ACCESS PATTERNS</a:t>
            </a:r>
          </a:p>
        </p:txBody>
      </p:sp>
      <p:sp>
        <p:nvSpPr>
          <p:cNvPr id="30" name="Rectangle 29">
            <a:extLst>
              <a:ext uri="{FF2B5EF4-FFF2-40B4-BE49-F238E27FC236}">
                <a16:creationId xmlns:a16="http://schemas.microsoft.com/office/drawing/2014/main" id="{D0F65A23-EE64-FA40-9620-58CA27403ECA}"/>
              </a:ext>
            </a:extLst>
          </p:cNvPr>
          <p:cNvSpPr/>
          <p:nvPr/>
        </p:nvSpPr>
        <p:spPr>
          <a:xfrm>
            <a:off x="1280007" y="3788260"/>
            <a:ext cx="4185128" cy="1187566"/>
          </a:xfrm>
          <a:prstGeom prst="rect">
            <a:avLst/>
          </a:prstGeom>
          <a:no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7023" tIns="74958" rIns="87023" bIns="74958" numCol="1" spcCol="1270" anchor="t" anchorCtr="0">
            <a:noAutofit/>
          </a:bodyPr>
          <a:lstStyle/>
          <a:p>
            <a:pPr marL="3663" lvl="1"/>
            <a:r>
              <a:rPr lang="en-US" altLang="ja-JP" sz="1600" dirty="0">
                <a:solidFill>
                  <a:schemeClr val="tx1"/>
                </a:solidFill>
              </a:rPr>
              <a:t>Consider how you are going to be accessing the database – discard pure relational patterns when it makes sense</a:t>
            </a:r>
          </a:p>
        </p:txBody>
      </p:sp>
      <p:sp>
        <p:nvSpPr>
          <p:cNvPr id="31" name="Rectangle 30">
            <a:extLst>
              <a:ext uri="{FF2B5EF4-FFF2-40B4-BE49-F238E27FC236}">
                <a16:creationId xmlns:a16="http://schemas.microsoft.com/office/drawing/2014/main" id="{75445C27-C737-6F4B-B371-08BC1E800AC8}"/>
              </a:ext>
            </a:extLst>
          </p:cNvPr>
          <p:cNvSpPr/>
          <p:nvPr/>
        </p:nvSpPr>
        <p:spPr>
          <a:xfrm>
            <a:off x="6425031" y="3319695"/>
            <a:ext cx="3325023" cy="27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600" dirty="0">
                <a:solidFill>
                  <a:schemeClr val="bg2"/>
                </a:solidFill>
              </a:rPr>
              <a:t>AVOID TABLE PER TYPE</a:t>
            </a:r>
          </a:p>
        </p:txBody>
      </p:sp>
      <p:sp>
        <p:nvSpPr>
          <p:cNvPr id="32" name="Rectangle 31">
            <a:extLst>
              <a:ext uri="{FF2B5EF4-FFF2-40B4-BE49-F238E27FC236}">
                <a16:creationId xmlns:a16="http://schemas.microsoft.com/office/drawing/2014/main" id="{14E805B0-4C7D-764E-A54F-7C21D5D63E62}"/>
              </a:ext>
            </a:extLst>
          </p:cNvPr>
          <p:cNvSpPr/>
          <p:nvPr/>
        </p:nvSpPr>
        <p:spPr>
          <a:xfrm>
            <a:off x="6425032" y="3788260"/>
            <a:ext cx="4185128" cy="1187566"/>
          </a:xfrm>
          <a:prstGeom prst="rect">
            <a:avLst/>
          </a:prstGeom>
          <a:no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7023" tIns="74958" rIns="87023" bIns="74958" numCol="1" spcCol="1270" anchor="t" anchorCtr="0">
            <a:noAutofit/>
          </a:bodyPr>
          <a:lstStyle/>
          <a:p>
            <a:pPr marL="3663" lvl="1"/>
            <a:r>
              <a:rPr lang="en-US" altLang="ja-JP" sz="1600" dirty="0">
                <a:solidFill>
                  <a:schemeClr val="tx1"/>
                </a:solidFill>
              </a:rPr>
              <a:t>Mapping entities to tables in a 1:1 fashion seems clean, but ignores that the ORM is meant to solve the mismatch</a:t>
            </a:r>
          </a:p>
        </p:txBody>
      </p:sp>
      <p:sp>
        <p:nvSpPr>
          <p:cNvPr id="33" name="Rectangle 32">
            <a:extLst>
              <a:ext uri="{FF2B5EF4-FFF2-40B4-BE49-F238E27FC236}">
                <a16:creationId xmlns:a16="http://schemas.microsoft.com/office/drawing/2014/main" id="{55BD4DBE-7B22-9F4A-9FAB-9207251CA515}"/>
              </a:ext>
            </a:extLst>
          </p:cNvPr>
          <p:cNvSpPr/>
          <p:nvPr/>
        </p:nvSpPr>
        <p:spPr>
          <a:xfrm>
            <a:off x="1280006" y="4880650"/>
            <a:ext cx="3781091" cy="27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600" dirty="0">
                <a:solidFill>
                  <a:schemeClr val="bg2"/>
                </a:solidFill>
              </a:rPr>
              <a:t>USE YOUR DATABASE’S TOOLS</a:t>
            </a:r>
          </a:p>
        </p:txBody>
      </p:sp>
      <p:sp>
        <p:nvSpPr>
          <p:cNvPr id="34" name="Rectangle 33">
            <a:extLst>
              <a:ext uri="{FF2B5EF4-FFF2-40B4-BE49-F238E27FC236}">
                <a16:creationId xmlns:a16="http://schemas.microsoft.com/office/drawing/2014/main" id="{544850F7-DC7E-5B4D-9749-8E51EE1DDB45}"/>
              </a:ext>
            </a:extLst>
          </p:cNvPr>
          <p:cNvSpPr/>
          <p:nvPr/>
        </p:nvSpPr>
        <p:spPr>
          <a:xfrm>
            <a:off x="1280007" y="5286115"/>
            <a:ext cx="4185128" cy="1187566"/>
          </a:xfrm>
          <a:prstGeom prst="rect">
            <a:avLst/>
          </a:prstGeom>
          <a:no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7023" tIns="74958" rIns="87023" bIns="74958" numCol="1" spcCol="1270" anchor="t" anchorCtr="0">
            <a:noAutofit/>
          </a:bodyPr>
          <a:lstStyle/>
          <a:p>
            <a:pPr marL="3663" lvl="1"/>
            <a:r>
              <a:rPr lang="en-US" altLang="ja-JP" sz="1600" dirty="0">
                <a:solidFill>
                  <a:schemeClr val="tx1"/>
                </a:solidFill>
              </a:rPr>
              <a:t>Understanding the features your database provides (like views, computed columns, and the like) can reduce the processing needed</a:t>
            </a:r>
          </a:p>
        </p:txBody>
      </p:sp>
      <p:sp>
        <p:nvSpPr>
          <p:cNvPr id="35" name="Rectangle 34">
            <a:extLst>
              <a:ext uri="{FF2B5EF4-FFF2-40B4-BE49-F238E27FC236}">
                <a16:creationId xmlns:a16="http://schemas.microsoft.com/office/drawing/2014/main" id="{E18191D9-AD64-3A4B-AE78-E80E56E89855}"/>
              </a:ext>
            </a:extLst>
          </p:cNvPr>
          <p:cNvSpPr/>
          <p:nvPr/>
        </p:nvSpPr>
        <p:spPr>
          <a:xfrm>
            <a:off x="6425032" y="4880650"/>
            <a:ext cx="3325022" cy="27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600" dirty="0">
                <a:solidFill>
                  <a:schemeClr val="bg2"/>
                </a:solidFill>
              </a:rPr>
              <a:t>AVOID CODE FIRST TOOLS</a:t>
            </a:r>
          </a:p>
        </p:txBody>
      </p:sp>
      <p:sp>
        <p:nvSpPr>
          <p:cNvPr id="36" name="Rectangle 35">
            <a:extLst>
              <a:ext uri="{FF2B5EF4-FFF2-40B4-BE49-F238E27FC236}">
                <a16:creationId xmlns:a16="http://schemas.microsoft.com/office/drawing/2014/main" id="{F47ED699-88A4-E143-89DC-45C2DD635FBE}"/>
              </a:ext>
            </a:extLst>
          </p:cNvPr>
          <p:cNvSpPr/>
          <p:nvPr/>
        </p:nvSpPr>
        <p:spPr>
          <a:xfrm>
            <a:off x="6425032" y="5286115"/>
            <a:ext cx="4185128" cy="1187566"/>
          </a:xfrm>
          <a:prstGeom prst="rect">
            <a:avLst/>
          </a:prstGeom>
          <a:no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7023" tIns="74958" rIns="87023" bIns="74958" numCol="1" spcCol="1270" anchor="t" anchorCtr="0">
            <a:noAutofit/>
          </a:bodyPr>
          <a:lstStyle/>
          <a:p>
            <a:pPr marL="3663" lvl="1"/>
            <a:r>
              <a:rPr lang="en-US" altLang="ja-JP" sz="1600" dirty="0">
                <a:solidFill>
                  <a:schemeClr val="tx1"/>
                </a:solidFill>
              </a:rPr>
              <a:t>Code first tools are great for fast starts or small applications; however, they do not scale well with enterprise applications and processes</a:t>
            </a:r>
          </a:p>
        </p:txBody>
      </p:sp>
    </p:spTree>
    <p:extLst>
      <p:ext uri="{BB962C8B-B14F-4D97-AF65-F5344CB8AC3E}">
        <p14:creationId xmlns:p14="http://schemas.microsoft.com/office/powerpoint/2010/main" val="19488643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6EF9A-8183-0545-ACCC-B90EE6983AF9}"/>
              </a:ext>
            </a:extLst>
          </p:cNvPr>
          <p:cNvSpPr>
            <a:spLocks noGrp="1"/>
          </p:cNvSpPr>
          <p:nvPr>
            <p:ph type="title"/>
          </p:nvPr>
        </p:nvSpPr>
        <p:spPr/>
        <p:txBody>
          <a:bodyPr/>
          <a:lstStyle/>
          <a:p>
            <a:r>
              <a:rPr lang="en-US" sz="4400" dirty="0"/>
              <a:t>A View to Admire</a:t>
            </a:r>
          </a:p>
        </p:txBody>
      </p:sp>
      <p:sp>
        <p:nvSpPr>
          <p:cNvPr id="3" name="Content Placeholder 2">
            <a:extLst>
              <a:ext uri="{FF2B5EF4-FFF2-40B4-BE49-F238E27FC236}">
                <a16:creationId xmlns:a16="http://schemas.microsoft.com/office/drawing/2014/main" id="{1B7A2473-D4FB-EA42-9B51-94B5DCA330B2}"/>
              </a:ext>
            </a:extLst>
          </p:cNvPr>
          <p:cNvSpPr>
            <a:spLocks noGrp="1"/>
          </p:cNvSpPr>
          <p:nvPr>
            <p:ph idx="1"/>
          </p:nvPr>
        </p:nvSpPr>
        <p:spPr/>
        <p:txBody>
          <a:bodyPr/>
          <a:lstStyle/>
          <a:p>
            <a:pPr marL="0" indent="0">
              <a:buNone/>
            </a:pPr>
            <a:r>
              <a:rPr lang="en-US" sz="2800" dirty="0"/>
              <a:t>If you find yourself doing a lot of </a:t>
            </a:r>
            <a:r>
              <a:rPr lang="en-US" sz="2800" dirty="0">
                <a:latin typeface="Consolas" panose="020B0609020204030204" pitchFamily="49" charset="0"/>
                <a:cs typeface="Consolas" panose="020B0609020204030204" pitchFamily="49" charset="0"/>
              </a:rPr>
              <a:t>Include()</a:t>
            </a:r>
            <a:r>
              <a:rPr lang="en-US" sz="2800" dirty="0"/>
              <a:t> or </a:t>
            </a:r>
            <a:r>
              <a:rPr lang="en-US" sz="2800" dirty="0">
                <a:latin typeface="Consolas" panose="020B0609020204030204" pitchFamily="49" charset="0"/>
                <a:cs typeface="Consolas" panose="020B0609020204030204" pitchFamily="49" charset="0"/>
              </a:rPr>
              <a:t>Join()</a:t>
            </a:r>
            <a:r>
              <a:rPr lang="en-US" sz="2800" dirty="0"/>
              <a:t>, you may want to consider using a view and a different entity definition</a:t>
            </a:r>
          </a:p>
        </p:txBody>
      </p:sp>
      <p:sp>
        <p:nvSpPr>
          <p:cNvPr id="4" name="Text Placeholder 3">
            <a:extLst>
              <a:ext uri="{FF2B5EF4-FFF2-40B4-BE49-F238E27FC236}">
                <a16:creationId xmlns:a16="http://schemas.microsoft.com/office/drawing/2014/main" id="{AAC46421-B482-BC4E-ACD2-BC8E2124C545}"/>
              </a:ext>
            </a:extLst>
          </p:cNvPr>
          <p:cNvSpPr>
            <a:spLocks noGrp="1"/>
          </p:cNvSpPr>
          <p:nvPr>
            <p:ph type="body" sz="quarter" idx="13"/>
          </p:nvPr>
        </p:nvSpPr>
        <p:spPr/>
        <p:txBody>
          <a:bodyPr/>
          <a:lstStyle/>
          <a:p>
            <a:r>
              <a:rPr lang="en-US" dirty="0"/>
              <a:t>DATABASE DESIGN</a:t>
            </a:r>
          </a:p>
        </p:txBody>
      </p:sp>
      <p:sp>
        <p:nvSpPr>
          <p:cNvPr id="5" name="Slide Number Placeholder 4">
            <a:extLst>
              <a:ext uri="{FF2B5EF4-FFF2-40B4-BE49-F238E27FC236}">
                <a16:creationId xmlns:a16="http://schemas.microsoft.com/office/drawing/2014/main" id="{7A0A9A62-AD14-B149-84F3-C7EB96E6C389}"/>
              </a:ext>
            </a:extLst>
          </p:cNvPr>
          <p:cNvSpPr>
            <a:spLocks noGrp="1"/>
          </p:cNvSpPr>
          <p:nvPr>
            <p:ph type="sldNum" sz="quarter" idx="4"/>
          </p:nvPr>
        </p:nvSpPr>
        <p:spPr/>
        <p:txBody>
          <a:bodyPr/>
          <a:lstStyle/>
          <a:p>
            <a:fld id="{E1123682-AE52-6D45-865E-F1EB3AE0E340}" type="slidenum">
              <a:rPr lang="en-US" smtClean="0"/>
              <a:pPr/>
              <a:t>25</a:t>
            </a:fld>
            <a:endParaRPr lang="en-US" dirty="0"/>
          </a:p>
        </p:txBody>
      </p:sp>
      <p:pic>
        <p:nvPicPr>
          <p:cNvPr id="7" name="Picture 6" descr="Text&#10;&#10;Description automatically generated">
            <a:extLst>
              <a:ext uri="{FF2B5EF4-FFF2-40B4-BE49-F238E27FC236}">
                <a16:creationId xmlns:a16="http://schemas.microsoft.com/office/drawing/2014/main" id="{1CA73081-91C5-E64D-A70B-AE47764D8C7B}"/>
              </a:ext>
            </a:extLst>
          </p:cNvPr>
          <p:cNvPicPr>
            <a:picLocks noChangeAspect="1"/>
          </p:cNvPicPr>
          <p:nvPr/>
        </p:nvPicPr>
        <p:blipFill>
          <a:blip r:embed="rId2"/>
          <a:stretch>
            <a:fillRect/>
          </a:stretch>
        </p:blipFill>
        <p:spPr>
          <a:xfrm>
            <a:off x="1005810" y="2656017"/>
            <a:ext cx="3949700" cy="2159000"/>
          </a:xfrm>
          <a:prstGeom prst="rect">
            <a:avLst/>
          </a:prstGeom>
        </p:spPr>
      </p:pic>
      <p:pic>
        <p:nvPicPr>
          <p:cNvPr id="9" name="Picture 8">
            <a:extLst>
              <a:ext uri="{FF2B5EF4-FFF2-40B4-BE49-F238E27FC236}">
                <a16:creationId xmlns:a16="http://schemas.microsoft.com/office/drawing/2014/main" id="{C8782888-E2F4-E14A-8A7F-3E9E8AE1079C}"/>
              </a:ext>
            </a:extLst>
          </p:cNvPr>
          <p:cNvPicPr>
            <a:picLocks noChangeAspect="1"/>
          </p:cNvPicPr>
          <p:nvPr/>
        </p:nvPicPr>
        <p:blipFill>
          <a:blip r:embed="rId3"/>
          <a:stretch>
            <a:fillRect/>
          </a:stretch>
        </p:blipFill>
        <p:spPr>
          <a:xfrm>
            <a:off x="624810" y="5299039"/>
            <a:ext cx="4711700" cy="889000"/>
          </a:xfrm>
          <a:prstGeom prst="rect">
            <a:avLst/>
          </a:prstGeom>
        </p:spPr>
      </p:pic>
      <p:pic>
        <p:nvPicPr>
          <p:cNvPr id="14" name="Picture 13" descr="Text&#10;&#10;Description automatically generated">
            <a:extLst>
              <a:ext uri="{FF2B5EF4-FFF2-40B4-BE49-F238E27FC236}">
                <a16:creationId xmlns:a16="http://schemas.microsoft.com/office/drawing/2014/main" id="{99145779-ECBB-6447-A08F-8506038429B5}"/>
              </a:ext>
            </a:extLst>
          </p:cNvPr>
          <p:cNvPicPr>
            <a:picLocks noChangeAspect="1"/>
          </p:cNvPicPr>
          <p:nvPr/>
        </p:nvPicPr>
        <p:blipFill>
          <a:blip r:embed="rId4"/>
          <a:stretch>
            <a:fillRect/>
          </a:stretch>
        </p:blipFill>
        <p:spPr>
          <a:xfrm>
            <a:off x="7236492" y="2394432"/>
            <a:ext cx="3773525" cy="3782531"/>
          </a:xfrm>
          <a:prstGeom prst="rect">
            <a:avLst/>
          </a:prstGeom>
        </p:spPr>
      </p:pic>
      <p:sp>
        <p:nvSpPr>
          <p:cNvPr id="15" name="Right Brace 14">
            <a:extLst>
              <a:ext uri="{FF2B5EF4-FFF2-40B4-BE49-F238E27FC236}">
                <a16:creationId xmlns:a16="http://schemas.microsoft.com/office/drawing/2014/main" id="{97098150-E719-D247-82BC-6F430291660F}"/>
              </a:ext>
            </a:extLst>
          </p:cNvPr>
          <p:cNvSpPr/>
          <p:nvPr/>
        </p:nvSpPr>
        <p:spPr>
          <a:xfrm>
            <a:off x="5667154" y="2656017"/>
            <a:ext cx="857694" cy="2159000"/>
          </a:xfrm>
          <a:prstGeom prst="rightBrace">
            <a:avLst>
              <a:gd name="adj1" fmla="val 8333"/>
              <a:gd name="adj2" fmla="val 50492"/>
            </a:avLst>
          </a:prstGeom>
          <a:ln w="381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Right Brace 15">
            <a:extLst>
              <a:ext uri="{FF2B5EF4-FFF2-40B4-BE49-F238E27FC236}">
                <a16:creationId xmlns:a16="http://schemas.microsoft.com/office/drawing/2014/main" id="{2539A955-51A1-7641-8E62-E614B3BCC6FB}"/>
              </a:ext>
            </a:extLst>
          </p:cNvPr>
          <p:cNvSpPr/>
          <p:nvPr/>
        </p:nvSpPr>
        <p:spPr>
          <a:xfrm rot="5400000">
            <a:off x="2731505" y="3986334"/>
            <a:ext cx="402617" cy="2159000"/>
          </a:xfrm>
          <a:prstGeom prst="rightBrace">
            <a:avLst>
              <a:gd name="adj1" fmla="val 8333"/>
              <a:gd name="adj2" fmla="val 50492"/>
            </a:avLst>
          </a:prstGeom>
          <a:ln w="381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6446987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CAB72-FE63-9849-9BCD-CFD9C2235CC4}"/>
              </a:ext>
            </a:extLst>
          </p:cNvPr>
          <p:cNvSpPr>
            <a:spLocks noGrp="1"/>
          </p:cNvSpPr>
          <p:nvPr>
            <p:ph type="title"/>
          </p:nvPr>
        </p:nvSpPr>
        <p:spPr/>
        <p:txBody>
          <a:bodyPr/>
          <a:lstStyle/>
          <a:p>
            <a:r>
              <a:rPr lang="en-US" sz="4400" dirty="0"/>
              <a:t>Code First Pitfalls</a:t>
            </a:r>
          </a:p>
        </p:txBody>
      </p:sp>
      <p:sp>
        <p:nvSpPr>
          <p:cNvPr id="4" name="Text Placeholder 3">
            <a:extLst>
              <a:ext uri="{FF2B5EF4-FFF2-40B4-BE49-F238E27FC236}">
                <a16:creationId xmlns:a16="http://schemas.microsoft.com/office/drawing/2014/main" id="{279DC246-C182-4946-9501-6105FB8C8F5B}"/>
              </a:ext>
            </a:extLst>
          </p:cNvPr>
          <p:cNvSpPr>
            <a:spLocks noGrp="1"/>
          </p:cNvSpPr>
          <p:nvPr>
            <p:ph type="body" sz="quarter" idx="13"/>
          </p:nvPr>
        </p:nvSpPr>
        <p:spPr/>
        <p:txBody>
          <a:bodyPr/>
          <a:lstStyle/>
          <a:p>
            <a:r>
              <a:rPr lang="en-US" dirty="0"/>
              <a:t>DATABASE DESIGN</a:t>
            </a:r>
          </a:p>
        </p:txBody>
      </p:sp>
      <p:sp>
        <p:nvSpPr>
          <p:cNvPr id="5" name="Slide Number Placeholder 4">
            <a:extLst>
              <a:ext uri="{FF2B5EF4-FFF2-40B4-BE49-F238E27FC236}">
                <a16:creationId xmlns:a16="http://schemas.microsoft.com/office/drawing/2014/main" id="{C969C7C6-F708-3A48-B3E9-0BC798A84B21}"/>
              </a:ext>
            </a:extLst>
          </p:cNvPr>
          <p:cNvSpPr>
            <a:spLocks noGrp="1"/>
          </p:cNvSpPr>
          <p:nvPr>
            <p:ph type="sldNum" sz="quarter" idx="4"/>
          </p:nvPr>
        </p:nvSpPr>
        <p:spPr/>
        <p:txBody>
          <a:bodyPr/>
          <a:lstStyle/>
          <a:p>
            <a:fld id="{E1123682-AE52-6D45-865E-F1EB3AE0E340}" type="slidenum">
              <a:rPr lang="en-US" smtClean="0"/>
              <a:pPr/>
              <a:t>26</a:t>
            </a:fld>
            <a:endParaRPr lang="en-US" dirty="0"/>
          </a:p>
        </p:txBody>
      </p:sp>
      <p:sp>
        <p:nvSpPr>
          <p:cNvPr id="6" name="Rectangle 5">
            <a:extLst>
              <a:ext uri="{FF2B5EF4-FFF2-40B4-BE49-F238E27FC236}">
                <a16:creationId xmlns:a16="http://schemas.microsoft.com/office/drawing/2014/main" id="{89E21180-292E-124F-8293-A26EB0382BB9}"/>
              </a:ext>
            </a:extLst>
          </p:cNvPr>
          <p:cNvSpPr/>
          <p:nvPr/>
        </p:nvSpPr>
        <p:spPr>
          <a:xfrm>
            <a:off x="609600" y="1645920"/>
            <a:ext cx="182383" cy="10136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7" name="Rectangle 6">
            <a:extLst>
              <a:ext uri="{FF2B5EF4-FFF2-40B4-BE49-F238E27FC236}">
                <a16:creationId xmlns:a16="http://schemas.microsoft.com/office/drawing/2014/main" id="{C4B687E2-72BD-4F45-B0C8-7775C2FD51F2}"/>
              </a:ext>
            </a:extLst>
          </p:cNvPr>
          <p:cNvSpPr/>
          <p:nvPr/>
        </p:nvSpPr>
        <p:spPr>
          <a:xfrm>
            <a:off x="609600" y="2766670"/>
            <a:ext cx="182383" cy="10136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8" name="Rectangle 7">
            <a:extLst>
              <a:ext uri="{FF2B5EF4-FFF2-40B4-BE49-F238E27FC236}">
                <a16:creationId xmlns:a16="http://schemas.microsoft.com/office/drawing/2014/main" id="{509A54F4-4C1B-FD41-A4C7-2E74E0452AD1}"/>
              </a:ext>
            </a:extLst>
          </p:cNvPr>
          <p:cNvSpPr/>
          <p:nvPr/>
        </p:nvSpPr>
        <p:spPr>
          <a:xfrm>
            <a:off x="609600" y="3887420"/>
            <a:ext cx="182383" cy="10136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9" name="Rectangle 8">
            <a:extLst>
              <a:ext uri="{FF2B5EF4-FFF2-40B4-BE49-F238E27FC236}">
                <a16:creationId xmlns:a16="http://schemas.microsoft.com/office/drawing/2014/main" id="{5F9218AA-B41E-FC46-B2B4-FA76EA026EAE}"/>
              </a:ext>
            </a:extLst>
          </p:cNvPr>
          <p:cNvSpPr/>
          <p:nvPr/>
        </p:nvSpPr>
        <p:spPr>
          <a:xfrm>
            <a:off x="609600" y="5008171"/>
            <a:ext cx="182383" cy="10136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10" name="Rectangle 9">
            <a:extLst>
              <a:ext uri="{FF2B5EF4-FFF2-40B4-BE49-F238E27FC236}">
                <a16:creationId xmlns:a16="http://schemas.microsoft.com/office/drawing/2014/main" id="{9DA4603A-ED7F-0344-BFA3-14066BEA5099}"/>
              </a:ext>
            </a:extLst>
          </p:cNvPr>
          <p:cNvSpPr/>
          <p:nvPr/>
        </p:nvSpPr>
        <p:spPr>
          <a:xfrm>
            <a:off x="791838" y="1645920"/>
            <a:ext cx="1784255" cy="10136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DATA TYPES</a:t>
            </a:r>
          </a:p>
        </p:txBody>
      </p:sp>
      <p:sp>
        <p:nvSpPr>
          <p:cNvPr id="11" name="Rectangle 10">
            <a:extLst>
              <a:ext uri="{FF2B5EF4-FFF2-40B4-BE49-F238E27FC236}">
                <a16:creationId xmlns:a16="http://schemas.microsoft.com/office/drawing/2014/main" id="{2594F808-DA05-3B45-BEBC-55013120D60A}"/>
              </a:ext>
            </a:extLst>
          </p:cNvPr>
          <p:cNvSpPr/>
          <p:nvPr/>
        </p:nvSpPr>
        <p:spPr>
          <a:xfrm>
            <a:off x="791838" y="2766670"/>
            <a:ext cx="1784255" cy="10136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INDEXES</a:t>
            </a:r>
          </a:p>
        </p:txBody>
      </p:sp>
      <p:sp>
        <p:nvSpPr>
          <p:cNvPr id="12" name="Rectangle 11">
            <a:extLst>
              <a:ext uri="{FF2B5EF4-FFF2-40B4-BE49-F238E27FC236}">
                <a16:creationId xmlns:a16="http://schemas.microsoft.com/office/drawing/2014/main" id="{787F164D-5856-0D44-87B9-416466FEDB12}"/>
              </a:ext>
            </a:extLst>
          </p:cNvPr>
          <p:cNvSpPr/>
          <p:nvPr/>
        </p:nvSpPr>
        <p:spPr>
          <a:xfrm>
            <a:off x="791838" y="3887420"/>
            <a:ext cx="1784255" cy="10136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VIEWS</a:t>
            </a:r>
          </a:p>
        </p:txBody>
      </p:sp>
      <p:sp>
        <p:nvSpPr>
          <p:cNvPr id="13" name="Rectangle 12">
            <a:extLst>
              <a:ext uri="{FF2B5EF4-FFF2-40B4-BE49-F238E27FC236}">
                <a16:creationId xmlns:a16="http://schemas.microsoft.com/office/drawing/2014/main" id="{1F839F52-A720-A24D-AB43-0F24871769A5}"/>
              </a:ext>
            </a:extLst>
          </p:cNvPr>
          <p:cNvSpPr/>
          <p:nvPr/>
        </p:nvSpPr>
        <p:spPr>
          <a:xfrm>
            <a:off x="791838" y="5008171"/>
            <a:ext cx="1784255" cy="10136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ADVANCED FEATURES</a:t>
            </a:r>
          </a:p>
        </p:txBody>
      </p:sp>
      <p:sp>
        <p:nvSpPr>
          <p:cNvPr id="14" name="Rectangle 13">
            <a:extLst>
              <a:ext uri="{FF2B5EF4-FFF2-40B4-BE49-F238E27FC236}">
                <a16:creationId xmlns:a16="http://schemas.microsoft.com/office/drawing/2014/main" id="{B980CC6E-27A8-194F-B098-89BB8097CCA0}"/>
              </a:ext>
            </a:extLst>
          </p:cNvPr>
          <p:cNvSpPr/>
          <p:nvPr/>
        </p:nvSpPr>
        <p:spPr>
          <a:xfrm>
            <a:off x="2641083" y="1645920"/>
            <a:ext cx="8941317" cy="1013655"/>
          </a:xfrm>
          <a:prstGeom prst="rect">
            <a:avLst/>
          </a:prstGeom>
          <a:solidFill>
            <a:schemeClr val="bg1">
              <a:lumMod val="95000"/>
            </a:schemeClr>
          </a:solidFill>
          <a:ln>
            <a:noFill/>
          </a:ln>
          <a:effectLst>
            <a:outerShdw dist="76200" dir="2700000" algn="tl"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Entity Framework Core chooses some nasty defaults if you do not specify differently – there may not be a need to store every string field as NVARCHAR!</a:t>
            </a:r>
          </a:p>
        </p:txBody>
      </p:sp>
      <p:sp>
        <p:nvSpPr>
          <p:cNvPr id="15" name="Rectangle 14">
            <a:extLst>
              <a:ext uri="{FF2B5EF4-FFF2-40B4-BE49-F238E27FC236}">
                <a16:creationId xmlns:a16="http://schemas.microsoft.com/office/drawing/2014/main" id="{53B38C6C-7260-3044-A8A1-DBB10F321F3F}"/>
              </a:ext>
            </a:extLst>
          </p:cNvPr>
          <p:cNvSpPr/>
          <p:nvPr/>
        </p:nvSpPr>
        <p:spPr>
          <a:xfrm>
            <a:off x="2641083" y="2766670"/>
            <a:ext cx="8941317" cy="1013655"/>
          </a:xfrm>
          <a:prstGeom prst="rect">
            <a:avLst/>
          </a:prstGeom>
          <a:solidFill>
            <a:schemeClr val="bg1">
              <a:lumMod val="95000"/>
            </a:schemeClr>
          </a:solidFill>
          <a:ln>
            <a:noFill/>
          </a:ln>
          <a:effectLst>
            <a:outerShdw dist="76200" dir="2700000" algn="tl"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No columns (except Primary Keys) are indexed by default, and adding indexes to tables with data can cause performance issues when migrations are run</a:t>
            </a:r>
          </a:p>
        </p:txBody>
      </p:sp>
      <p:sp>
        <p:nvSpPr>
          <p:cNvPr id="16" name="Rectangle 15">
            <a:extLst>
              <a:ext uri="{FF2B5EF4-FFF2-40B4-BE49-F238E27FC236}">
                <a16:creationId xmlns:a16="http://schemas.microsoft.com/office/drawing/2014/main" id="{FB0AD26D-838D-3C45-9DBA-0758FC556BDE}"/>
              </a:ext>
            </a:extLst>
          </p:cNvPr>
          <p:cNvSpPr/>
          <p:nvPr/>
        </p:nvSpPr>
        <p:spPr>
          <a:xfrm>
            <a:off x="2641083" y="3887420"/>
            <a:ext cx="8941317" cy="1013655"/>
          </a:xfrm>
          <a:prstGeom prst="rect">
            <a:avLst/>
          </a:prstGeom>
          <a:solidFill>
            <a:schemeClr val="bg1">
              <a:lumMod val="95000"/>
            </a:schemeClr>
          </a:solidFill>
          <a:ln>
            <a:noFill/>
          </a:ln>
          <a:effectLst>
            <a:outerShdw dist="76200" dir="2700000" algn="tl"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Views must be written manually, which is the same as if you were not using Code First!</a:t>
            </a:r>
          </a:p>
        </p:txBody>
      </p:sp>
      <p:sp>
        <p:nvSpPr>
          <p:cNvPr id="17" name="Rectangle 16">
            <a:extLst>
              <a:ext uri="{FF2B5EF4-FFF2-40B4-BE49-F238E27FC236}">
                <a16:creationId xmlns:a16="http://schemas.microsoft.com/office/drawing/2014/main" id="{13099926-57BC-6845-89F7-0B833393E18E}"/>
              </a:ext>
            </a:extLst>
          </p:cNvPr>
          <p:cNvSpPr/>
          <p:nvPr/>
        </p:nvSpPr>
        <p:spPr>
          <a:xfrm>
            <a:off x="2641083" y="5008171"/>
            <a:ext cx="8941317" cy="1013655"/>
          </a:xfrm>
          <a:prstGeom prst="rect">
            <a:avLst/>
          </a:prstGeom>
          <a:solidFill>
            <a:schemeClr val="bg1">
              <a:lumMod val="95000"/>
            </a:schemeClr>
          </a:solidFill>
          <a:ln>
            <a:noFill/>
          </a:ln>
          <a:effectLst>
            <a:outerShdw dist="76200" dir="2700000" algn="tl"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Code First will generally not utilize more advanced database features, such as table partitioning or user-defined types. These may be needed, depending on the size of your data!</a:t>
            </a:r>
          </a:p>
        </p:txBody>
      </p:sp>
    </p:spTree>
    <p:extLst>
      <p:ext uri="{BB962C8B-B14F-4D97-AF65-F5344CB8AC3E}">
        <p14:creationId xmlns:p14="http://schemas.microsoft.com/office/powerpoint/2010/main" val="5424315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666C5B4-617C-0F41-B703-596339B3F745}"/>
              </a:ext>
            </a:extLst>
          </p:cNvPr>
          <p:cNvSpPr>
            <a:spLocks noGrp="1"/>
          </p:cNvSpPr>
          <p:nvPr>
            <p:ph type="body" sz="quarter" idx="10"/>
          </p:nvPr>
        </p:nvSpPr>
        <p:spPr/>
        <p:txBody>
          <a:bodyPr/>
          <a:lstStyle/>
          <a:p>
            <a:r>
              <a:rPr lang="en-US" i="1" dirty="0"/>
              <a:t>Eject! </a:t>
            </a:r>
            <a:r>
              <a:rPr lang="en-US" dirty="0"/>
              <a:t>– Let’s Be Honest About Things EF Core is Bad With</a:t>
            </a:r>
          </a:p>
        </p:txBody>
      </p:sp>
      <p:sp>
        <p:nvSpPr>
          <p:cNvPr id="3" name="Slide Number Placeholder 2">
            <a:extLst>
              <a:ext uri="{FF2B5EF4-FFF2-40B4-BE49-F238E27FC236}">
                <a16:creationId xmlns:a16="http://schemas.microsoft.com/office/drawing/2014/main" id="{E65B2459-68CE-BF45-BEE7-E3754B5A98A4}"/>
              </a:ext>
            </a:extLst>
          </p:cNvPr>
          <p:cNvSpPr>
            <a:spLocks noGrp="1"/>
          </p:cNvSpPr>
          <p:nvPr>
            <p:ph type="sldNum" sz="quarter" idx="4"/>
          </p:nvPr>
        </p:nvSpPr>
        <p:spPr/>
        <p:txBody>
          <a:bodyPr/>
          <a:lstStyle/>
          <a:p>
            <a:fld id="{E1123682-AE52-6D45-865E-F1EB3AE0E340}" type="slidenum">
              <a:rPr lang="en-US" smtClean="0"/>
              <a:pPr/>
              <a:t>27</a:t>
            </a:fld>
            <a:endParaRPr lang="en-US" dirty="0"/>
          </a:p>
        </p:txBody>
      </p:sp>
    </p:spTree>
    <p:extLst>
      <p:ext uri="{BB962C8B-B14F-4D97-AF65-F5344CB8AC3E}">
        <p14:creationId xmlns:p14="http://schemas.microsoft.com/office/powerpoint/2010/main" val="7224769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3D220EB-7FA1-4044-86AD-2DBB9E61E3DE}"/>
              </a:ext>
            </a:extLst>
          </p:cNvPr>
          <p:cNvSpPr>
            <a:spLocks noGrp="1"/>
          </p:cNvSpPr>
          <p:nvPr>
            <p:ph type="title"/>
          </p:nvPr>
        </p:nvSpPr>
        <p:spPr/>
        <p:txBody>
          <a:bodyPr/>
          <a:lstStyle/>
          <a:p>
            <a:r>
              <a:rPr lang="en-US" sz="4400" dirty="0"/>
              <a:t>Complex Data Operations</a:t>
            </a:r>
          </a:p>
        </p:txBody>
      </p:sp>
      <p:sp>
        <p:nvSpPr>
          <p:cNvPr id="6" name="Text Placeholder 5">
            <a:extLst>
              <a:ext uri="{FF2B5EF4-FFF2-40B4-BE49-F238E27FC236}">
                <a16:creationId xmlns:a16="http://schemas.microsoft.com/office/drawing/2014/main" id="{C8DEE4CE-12E9-BF4A-91B7-B911978139BD}"/>
              </a:ext>
            </a:extLst>
          </p:cNvPr>
          <p:cNvSpPr>
            <a:spLocks noGrp="1"/>
          </p:cNvSpPr>
          <p:nvPr>
            <p:ph type="body" sz="quarter" idx="13"/>
          </p:nvPr>
        </p:nvSpPr>
        <p:spPr/>
        <p:txBody>
          <a:bodyPr/>
          <a:lstStyle/>
          <a:p>
            <a:r>
              <a:rPr lang="en-US" dirty="0"/>
              <a:t>EJECT!</a:t>
            </a:r>
          </a:p>
        </p:txBody>
      </p:sp>
      <p:sp>
        <p:nvSpPr>
          <p:cNvPr id="3" name="Slide Number Placeholder 2">
            <a:extLst>
              <a:ext uri="{FF2B5EF4-FFF2-40B4-BE49-F238E27FC236}">
                <a16:creationId xmlns:a16="http://schemas.microsoft.com/office/drawing/2014/main" id="{57940E1C-FCA2-574B-8BDF-2BEA90098A41}"/>
              </a:ext>
            </a:extLst>
          </p:cNvPr>
          <p:cNvSpPr>
            <a:spLocks noGrp="1"/>
          </p:cNvSpPr>
          <p:nvPr>
            <p:ph type="sldNum" sz="quarter" idx="4"/>
          </p:nvPr>
        </p:nvSpPr>
        <p:spPr/>
        <p:txBody>
          <a:bodyPr/>
          <a:lstStyle/>
          <a:p>
            <a:fld id="{E1123682-AE52-6D45-865E-F1EB3AE0E340}" type="slidenum">
              <a:rPr lang="en-US" smtClean="0"/>
              <a:pPr/>
              <a:t>28</a:t>
            </a:fld>
            <a:endParaRPr lang="en-US" dirty="0"/>
          </a:p>
        </p:txBody>
      </p:sp>
      <p:sp>
        <p:nvSpPr>
          <p:cNvPr id="15" name="Chevron 14">
            <a:extLst>
              <a:ext uri="{FF2B5EF4-FFF2-40B4-BE49-F238E27FC236}">
                <a16:creationId xmlns:a16="http://schemas.microsoft.com/office/drawing/2014/main" id="{F42FD122-E404-5A49-AEED-3505E4562BD3}"/>
              </a:ext>
            </a:extLst>
          </p:cNvPr>
          <p:cNvSpPr/>
          <p:nvPr/>
        </p:nvSpPr>
        <p:spPr>
          <a:xfrm>
            <a:off x="1596699" y="1953145"/>
            <a:ext cx="3473572" cy="4080772"/>
          </a:xfrm>
          <a:prstGeom prst="chevron">
            <a:avLst>
              <a:gd name="adj" fmla="val 17317"/>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77">
              <a:solidFill>
                <a:schemeClr val="tx1"/>
              </a:solidFill>
            </a:endParaRPr>
          </a:p>
        </p:txBody>
      </p:sp>
      <p:sp>
        <p:nvSpPr>
          <p:cNvPr id="16" name="Rectangle 1">
            <a:extLst>
              <a:ext uri="{FF2B5EF4-FFF2-40B4-BE49-F238E27FC236}">
                <a16:creationId xmlns:a16="http://schemas.microsoft.com/office/drawing/2014/main" id="{941BC024-821E-4D4A-A63D-7F5F95C86741}"/>
              </a:ext>
            </a:extLst>
          </p:cNvPr>
          <p:cNvSpPr/>
          <p:nvPr/>
        </p:nvSpPr>
        <p:spPr>
          <a:xfrm>
            <a:off x="1599915" y="1953145"/>
            <a:ext cx="3470356" cy="2029478"/>
          </a:xfrm>
          <a:custGeom>
            <a:avLst/>
            <a:gdLst/>
            <a:ahLst/>
            <a:cxnLst/>
            <a:rect l="l" t="t" r="r" b="b"/>
            <a:pathLst>
              <a:path w="3007642" h="1758881">
                <a:moveTo>
                  <a:pt x="0" y="0"/>
                </a:moveTo>
                <a:lnTo>
                  <a:pt x="2489113" y="0"/>
                </a:lnTo>
                <a:lnTo>
                  <a:pt x="3007642" y="1758881"/>
                </a:lnTo>
                <a:lnTo>
                  <a:pt x="518529" y="1758881"/>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77"/>
          </a:p>
        </p:txBody>
      </p:sp>
      <p:sp>
        <p:nvSpPr>
          <p:cNvPr id="17" name="Chevron 4">
            <a:extLst>
              <a:ext uri="{FF2B5EF4-FFF2-40B4-BE49-F238E27FC236}">
                <a16:creationId xmlns:a16="http://schemas.microsoft.com/office/drawing/2014/main" id="{78A4E39D-BAE4-7C4E-A81B-3FA21385E21D}"/>
              </a:ext>
            </a:extLst>
          </p:cNvPr>
          <p:cNvSpPr/>
          <p:nvPr/>
        </p:nvSpPr>
        <p:spPr>
          <a:xfrm>
            <a:off x="2317166" y="2922450"/>
            <a:ext cx="2312731" cy="531937"/>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73855" tIns="24618" rIns="24618" bIns="24618" numCol="1" spcCol="1270" anchor="b" anchorCtr="0">
            <a:noAutofit/>
          </a:bodyPr>
          <a:lstStyle/>
          <a:p>
            <a:pPr defTabSz="820583">
              <a:lnSpc>
                <a:spcPct val="90000"/>
              </a:lnSpc>
              <a:spcBef>
                <a:spcPct val="0"/>
              </a:spcBef>
              <a:spcAft>
                <a:spcPct val="35000"/>
              </a:spcAft>
            </a:pPr>
            <a:r>
              <a:rPr lang="en-US" sz="3692" dirty="0"/>
              <a:t>Lots of Joins</a:t>
            </a:r>
          </a:p>
        </p:txBody>
      </p:sp>
      <p:sp>
        <p:nvSpPr>
          <p:cNvPr id="19" name="Chevron 4">
            <a:extLst>
              <a:ext uri="{FF2B5EF4-FFF2-40B4-BE49-F238E27FC236}">
                <a16:creationId xmlns:a16="http://schemas.microsoft.com/office/drawing/2014/main" id="{F8D810A2-4C0C-A345-8101-D3A0F4104D37}"/>
              </a:ext>
            </a:extLst>
          </p:cNvPr>
          <p:cNvSpPr/>
          <p:nvPr/>
        </p:nvSpPr>
        <p:spPr>
          <a:xfrm>
            <a:off x="2171346" y="3982622"/>
            <a:ext cx="2312731" cy="2051294"/>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73855" tIns="24618" rIns="24618" bIns="24618" numCol="1" spcCol="1270" anchor="ctr" anchorCtr="0">
            <a:noAutofit/>
          </a:bodyPr>
          <a:lstStyle/>
          <a:p>
            <a:pPr algn="ctr" defTabSz="820583">
              <a:lnSpc>
                <a:spcPct val="80000"/>
              </a:lnSpc>
              <a:spcBef>
                <a:spcPct val="0"/>
              </a:spcBef>
              <a:spcAft>
                <a:spcPct val="35000"/>
              </a:spcAft>
            </a:pPr>
            <a:r>
              <a:rPr lang="en-US" dirty="0">
                <a:solidFill>
                  <a:schemeClr val="tx1"/>
                </a:solidFill>
              </a:rPr>
              <a:t>If you have a lot of joins in your query (or Include() statements), EF Core is going to struggle to produce good SQL</a:t>
            </a:r>
          </a:p>
        </p:txBody>
      </p:sp>
      <p:sp>
        <p:nvSpPr>
          <p:cNvPr id="20" name="Chevron 19">
            <a:extLst>
              <a:ext uri="{FF2B5EF4-FFF2-40B4-BE49-F238E27FC236}">
                <a16:creationId xmlns:a16="http://schemas.microsoft.com/office/drawing/2014/main" id="{51862938-C612-3045-B0EB-7E8ECE722302}"/>
              </a:ext>
            </a:extLst>
          </p:cNvPr>
          <p:cNvSpPr/>
          <p:nvPr/>
        </p:nvSpPr>
        <p:spPr>
          <a:xfrm>
            <a:off x="4560032" y="1953145"/>
            <a:ext cx="3473572" cy="4080772"/>
          </a:xfrm>
          <a:prstGeom prst="chevron">
            <a:avLst>
              <a:gd name="adj" fmla="val 17317"/>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77">
              <a:solidFill>
                <a:schemeClr val="tx1"/>
              </a:solidFill>
            </a:endParaRPr>
          </a:p>
        </p:txBody>
      </p:sp>
      <p:sp>
        <p:nvSpPr>
          <p:cNvPr id="21" name="Rectangle 1">
            <a:extLst>
              <a:ext uri="{FF2B5EF4-FFF2-40B4-BE49-F238E27FC236}">
                <a16:creationId xmlns:a16="http://schemas.microsoft.com/office/drawing/2014/main" id="{BCC81F2D-B37D-7B46-8BCB-4C84926C6AEA}"/>
              </a:ext>
            </a:extLst>
          </p:cNvPr>
          <p:cNvSpPr/>
          <p:nvPr/>
        </p:nvSpPr>
        <p:spPr>
          <a:xfrm>
            <a:off x="4563248" y="1953145"/>
            <a:ext cx="3470356" cy="2029478"/>
          </a:xfrm>
          <a:custGeom>
            <a:avLst/>
            <a:gdLst/>
            <a:ahLst/>
            <a:cxnLst/>
            <a:rect l="l" t="t" r="r" b="b"/>
            <a:pathLst>
              <a:path w="3007642" h="1758881">
                <a:moveTo>
                  <a:pt x="0" y="0"/>
                </a:moveTo>
                <a:lnTo>
                  <a:pt x="2489113" y="0"/>
                </a:lnTo>
                <a:lnTo>
                  <a:pt x="3007642" y="1758881"/>
                </a:lnTo>
                <a:lnTo>
                  <a:pt x="518529" y="1758881"/>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77"/>
          </a:p>
        </p:txBody>
      </p:sp>
      <p:sp>
        <p:nvSpPr>
          <p:cNvPr id="22" name="Chevron 4">
            <a:extLst>
              <a:ext uri="{FF2B5EF4-FFF2-40B4-BE49-F238E27FC236}">
                <a16:creationId xmlns:a16="http://schemas.microsoft.com/office/drawing/2014/main" id="{4D1BC44E-1C00-0B46-8CF4-85BD19846467}"/>
              </a:ext>
            </a:extLst>
          </p:cNvPr>
          <p:cNvSpPr/>
          <p:nvPr/>
        </p:nvSpPr>
        <p:spPr>
          <a:xfrm>
            <a:off x="5164873" y="2656481"/>
            <a:ext cx="2312731" cy="531937"/>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73855" tIns="24618" rIns="24618" bIns="24618" numCol="1" spcCol="1270" anchor="b" anchorCtr="0">
            <a:noAutofit/>
          </a:bodyPr>
          <a:lstStyle/>
          <a:p>
            <a:pPr defTabSz="820583">
              <a:lnSpc>
                <a:spcPct val="90000"/>
              </a:lnSpc>
              <a:spcBef>
                <a:spcPct val="0"/>
              </a:spcBef>
              <a:spcAft>
                <a:spcPct val="35000"/>
              </a:spcAft>
            </a:pPr>
            <a:r>
              <a:rPr lang="en-US" sz="3692" dirty="0"/>
              <a:t>ETL (or ELT)</a:t>
            </a:r>
          </a:p>
        </p:txBody>
      </p:sp>
      <p:sp>
        <p:nvSpPr>
          <p:cNvPr id="24" name="Chevron 4">
            <a:extLst>
              <a:ext uri="{FF2B5EF4-FFF2-40B4-BE49-F238E27FC236}">
                <a16:creationId xmlns:a16="http://schemas.microsoft.com/office/drawing/2014/main" id="{4A611928-028C-F547-95BA-72AD487727B7}"/>
              </a:ext>
            </a:extLst>
          </p:cNvPr>
          <p:cNvSpPr/>
          <p:nvPr/>
        </p:nvSpPr>
        <p:spPr>
          <a:xfrm>
            <a:off x="5134680" y="3982622"/>
            <a:ext cx="2312731" cy="2051294"/>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73855" tIns="24618" rIns="24618" bIns="24618" numCol="1" spcCol="1270" anchor="ctr" anchorCtr="0">
            <a:noAutofit/>
          </a:bodyPr>
          <a:lstStyle/>
          <a:p>
            <a:pPr algn="ctr" defTabSz="820583">
              <a:lnSpc>
                <a:spcPct val="80000"/>
              </a:lnSpc>
              <a:spcBef>
                <a:spcPct val="0"/>
              </a:spcBef>
              <a:spcAft>
                <a:spcPct val="35000"/>
              </a:spcAft>
            </a:pPr>
            <a:r>
              <a:rPr lang="en-US" dirty="0">
                <a:solidFill>
                  <a:schemeClr val="tx1"/>
                </a:solidFill>
              </a:rPr>
              <a:t>Handling ETL operations is something that is best left to ETL tools. EF Core’s overhead renders it very inefficient with large data operations</a:t>
            </a:r>
          </a:p>
        </p:txBody>
      </p:sp>
      <p:sp>
        <p:nvSpPr>
          <p:cNvPr id="25" name="Chevron 24">
            <a:extLst>
              <a:ext uri="{FF2B5EF4-FFF2-40B4-BE49-F238E27FC236}">
                <a16:creationId xmlns:a16="http://schemas.microsoft.com/office/drawing/2014/main" id="{43064B7C-6B21-3647-81E3-C916992B4D54}"/>
              </a:ext>
            </a:extLst>
          </p:cNvPr>
          <p:cNvSpPr/>
          <p:nvPr/>
        </p:nvSpPr>
        <p:spPr>
          <a:xfrm>
            <a:off x="7528821" y="1953145"/>
            <a:ext cx="3473572" cy="4080772"/>
          </a:xfrm>
          <a:prstGeom prst="chevron">
            <a:avLst>
              <a:gd name="adj" fmla="val 17317"/>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77">
              <a:solidFill>
                <a:schemeClr val="tx1"/>
              </a:solidFill>
            </a:endParaRPr>
          </a:p>
        </p:txBody>
      </p:sp>
      <p:sp>
        <p:nvSpPr>
          <p:cNvPr id="26" name="Rectangle 1">
            <a:extLst>
              <a:ext uri="{FF2B5EF4-FFF2-40B4-BE49-F238E27FC236}">
                <a16:creationId xmlns:a16="http://schemas.microsoft.com/office/drawing/2014/main" id="{CA92D3F7-7F6A-3E44-BC68-DEE675D9CCFE}"/>
              </a:ext>
            </a:extLst>
          </p:cNvPr>
          <p:cNvSpPr/>
          <p:nvPr/>
        </p:nvSpPr>
        <p:spPr>
          <a:xfrm>
            <a:off x="7532037" y="1953145"/>
            <a:ext cx="3470356" cy="2029478"/>
          </a:xfrm>
          <a:custGeom>
            <a:avLst/>
            <a:gdLst/>
            <a:ahLst/>
            <a:cxnLst/>
            <a:rect l="l" t="t" r="r" b="b"/>
            <a:pathLst>
              <a:path w="3007642" h="1758881">
                <a:moveTo>
                  <a:pt x="0" y="0"/>
                </a:moveTo>
                <a:lnTo>
                  <a:pt x="2489113" y="0"/>
                </a:lnTo>
                <a:lnTo>
                  <a:pt x="3007642" y="1758881"/>
                </a:lnTo>
                <a:lnTo>
                  <a:pt x="518529" y="1758881"/>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77"/>
          </a:p>
        </p:txBody>
      </p:sp>
      <p:sp>
        <p:nvSpPr>
          <p:cNvPr id="27" name="Chevron 4">
            <a:extLst>
              <a:ext uri="{FF2B5EF4-FFF2-40B4-BE49-F238E27FC236}">
                <a16:creationId xmlns:a16="http://schemas.microsoft.com/office/drawing/2014/main" id="{3F76D90F-D440-A645-8859-DFC0F45088A6}"/>
              </a:ext>
            </a:extLst>
          </p:cNvPr>
          <p:cNvSpPr/>
          <p:nvPr/>
        </p:nvSpPr>
        <p:spPr>
          <a:xfrm>
            <a:off x="8179423" y="2922450"/>
            <a:ext cx="2312731" cy="531937"/>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73855" tIns="24618" rIns="24618" bIns="24618" numCol="1" spcCol="1270" anchor="b" anchorCtr="0">
            <a:noAutofit/>
          </a:bodyPr>
          <a:lstStyle/>
          <a:p>
            <a:pPr defTabSz="820583">
              <a:lnSpc>
                <a:spcPct val="90000"/>
              </a:lnSpc>
              <a:spcBef>
                <a:spcPct val="0"/>
              </a:spcBef>
              <a:spcAft>
                <a:spcPct val="35000"/>
              </a:spcAft>
            </a:pPr>
            <a:r>
              <a:rPr lang="en-US" sz="3692" dirty="0"/>
              <a:t>Parameter Issues</a:t>
            </a:r>
          </a:p>
        </p:txBody>
      </p:sp>
      <p:sp>
        <p:nvSpPr>
          <p:cNvPr id="29" name="Chevron 4">
            <a:extLst>
              <a:ext uri="{FF2B5EF4-FFF2-40B4-BE49-F238E27FC236}">
                <a16:creationId xmlns:a16="http://schemas.microsoft.com/office/drawing/2014/main" id="{614B7921-4516-3D46-8A64-F58F4546E0B8}"/>
              </a:ext>
            </a:extLst>
          </p:cNvPr>
          <p:cNvSpPr/>
          <p:nvPr/>
        </p:nvSpPr>
        <p:spPr>
          <a:xfrm>
            <a:off x="8103469" y="3982622"/>
            <a:ext cx="2312731" cy="2051294"/>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73855" tIns="24618" rIns="24618" bIns="24618" numCol="1" spcCol="1270" anchor="ctr" anchorCtr="0">
            <a:noAutofit/>
          </a:bodyPr>
          <a:lstStyle/>
          <a:p>
            <a:pPr algn="ctr" defTabSz="820583">
              <a:lnSpc>
                <a:spcPct val="80000"/>
              </a:lnSpc>
              <a:spcBef>
                <a:spcPct val="0"/>
              </a:spcBef>
              <a:spcAft>
                <a:spcPct val="35000"/>
              </a:spcAft>
            </a:pPr>
            <a:r>
              <a:rPr lang="en-US" dirty="0">
                <a:solidFill>
                  <a:schemeClr val="tx1"/>
                </a:solidFill>
              </a:rPr>
              <a:t>Sometimes you will run into a parameter issue where the database is just doing the wrong thing and you will need to write specific SQL to fix it</a:t>
            </a:r>
          </a:p>
        </p:txBody>
      </p:sp>
    </p:spTree>
    <p:extLst>
      <p:ext uri="{BB962C8B-B14F-4D97-AF65-F5344CB8AC3E}">
        <p14:creationId xmlns:p14="http://schemas.microsoft.com/office/powerpoint/2010/main" val="14718092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2DB92-1D80-A441-9115-606CCC3FDC69}"/>
              </a:ext>
            </a:extLst>
          </p:cNvPr>
          <p:cNvSpPr>
            <a:spLocks noGrp="1"/>
          </p:cNvSpPr>
          <p:nvPr>
            <p:ph type="title"/>
          </p:nvPr>
        </p:nvSpPr>
        <p:spPr/>
        <p:txBody>
          <a:bodyPr/>
          <a:lstStyle/>
          <a:p>
            <a:r>
              <a:rPr lang="en-US" sz="4400" dirty="0"/>
              <a:t>Providing the Best Performance</a:t>
            </a:r>
          </a:p>
        </p:txBody>
      </p:sp>
      <p:sp>
        <p:nvSpPr>
          <p:cNvPr id="4" name="Text Placeholder 3">
            <a:extLst>
              <a:ext uri="{FF2B5EF4-FFF2-40B4-BE49-F238E27FC236}">
                <a16:creationId xmlns:a16="http://schemas.microsoft.com/office/drawing/2014/main" id="{2D561DFE-ADD8-0B4A-BEC1-8DB46AF1FA00}"/>
              </a:ext>
            </a:extLst>
          </p:cNvPr>
          <p:cNvSpPr>
            <a:spLocks noGrp="1"/>
          </p:cNvSpPr>
          <p:nvPr>
            <p:ph type="body" sz="quarter" idx="13"/>
          </p:nvPr>
        </p:nvSpPr>
        <p:spPr/>
        <p:txBody>
          <a:bodyPr/>
          <a:lstStyle/>
          <a:p>
            <a:r>
              <a:rPr lang="en-US" dirty="0"/>
              <a:t>EJECT!</a:t>
            </a:r>
          </a:p>
        </p:txBody>
      </p:sp>
      <p:sp>
        <p:nvSpPr>
          <p:cNvPr id="5" name="Slide Number Placeholder 4">
            <a:extLst>
              <a:ext uri="{FF2B5EF4-FFF2-40B4-BE49-F238E27FC236}">
                <a16:creationId xmlns:a16="http://schemas.microsoft.com/office/drawing/2014/main" id="{D7ED5278-C961-BA43-8D14-4E8098CAA43F}"/>
              </a:ext>
            </a:extLst>
          </p:cNvPr>
          <p:cNvSpPr>
            <a:spLocks noGrp="1"/>
          </p:cNvSpPr>
          <p:nvPr>
            <p:ph type="sldNum" sz="quarter" idx="4"/>
          </p:nvPr>
        </p:nvSpPr>
        <p:spPr/>
        <p:txBody>
          <a:bodyPr/>
          <a:lstStyle/>
          <a:p>
            <a:fld id="{E1123682-AE52-6D45-865E-F1EB3AE0E340}" type="slidenum">
              <a:rPr lang="en-US" smtClean="0"/>
              <a:pPr/>
              <a:t>29</a:t>
            </a:fld>
            <a:endParaRPr lang="en-US" dirty="0"/>
          </a:p>
        </p:txBody>
      </p:sp>
      <p:grpSp>
        <p:nvGrpSpPr>
          <p:cNvPr id="6" name="Group 5">
            <a:extLst>
              <a:ext uri="{FF2B5EF4-FFF2-40B4-BE49-F238E27FC236}">
                <a16:creationId xmlns:a16="http://schemas.microsoft.com/office/drawing/2014/main" id="{20268A33-84C1-924A-A265-84AD9B35143B}"/>
              </a:ext>
            </a:extLst>
          </p:cNvPr>
          <p:cNvGrpSpPr/>
          <p:nvPr/>
        </p:nvGrpSpPr>
        <p:grpSpPr>
          <a:xfrm>
            <a:off x="2015144" y="1863727"/>
            <a:ext cx="8161712" cy="4214856"/>
            <a:chOff x="2758568" y="1863727"/>
            <a:chExt cx="7049064" cy="3725863"/>
          </a:xfrm>
        </p:grpSpPr>
        <p:sp>
          <p:nvSpPr>
            <p:cNvPr id="7" name="Rectangle 6">
              <a:extLst>
                <a:ext uri="{FF2B5EF4-FFF2-40B4-BE49-F238E27FC236}">
                  <a16:creationId xmlns:a16="http://schemas.microsoft.com/office/drawing/2014/main" id="{AF4AC19F-038A-9440-9A64-9FE3ED83A2E6}"/>
                </a:ext>
              </a:extLst>
            </p:cNvPr>
            <p:cNvSpPr>
              <a:spLocks noChangeArrowheads="1"/>
            </p:cNvSpPr>
            <p:nvPr/>
          </p:nvSpPr>
          <p:spPr bwMode="auto">
            <a:xfrm>
              <a:off x="2758568" y="3519490"/>
              <a:ext cx="7049064" cy="2070100"/>
            </a:xfrm>
            <a:prstGeom prst="rect">
              <a:avLst/>
            </a:prstGeom>
            <a:solidFill>
              <a:schemeClr val="bg1">
                <a:lumMod val="95000"/>
              </a:schemeClr>
            </a:solidFill>
            <a:ln>
              <a:solidFill>
                <a:schemeClr val="bg1">
                  <a:lumMod val="95000"/>
                  <a:alpha val="93000"/>
                </a:schemeClr>
              </a:solidFill>
            </a:ln>
          </p:spPr>
          <p:style>
            <a:lnRef idx="2">
              <a:schemeClr val="accent3">
                <a:shade val="50000"/>
              </a:schemeClr>
            </a:lnRef>
            <a:fillRef idx="1">
              <a:schemeClr val="accent3"/>
            </a:fillRef>
            <a:effectRef idx="0">
              <a:schemeClr val="accent3"/>
            </a:effectRef>
            <a:fontRef idx="minor">
              <a:schemeClr val="lt1"/>
            </a:fontRef>
          </p:style>
          <p:txBody>
            <a:bodyPr vert="horz" lIns="94956" tIns="94956" rIns="94956" bIns="94956" anchor="ctr" anchorCtr="1"/>
            <a:lstStyle/>
            <a:p>
              <a:pPr defTabSz="904538">
                <a:lnSpc>
                  <a:spcPct val="90000"/>
                </a:lnSpc>
                <a:spcBef>
                  <a:spcPct val="20000"/>
                </a:spcBef>
                <a:buSzPct val="100000"/>
              </a:pPr>
              <a:endParaRPr lang="en-US" sz="2400" dirty="0">
                <a:solidFill>
                  <a:schemeClr val="tx1"/>
                </a:solidFill>
              </a:endParaRPr>
            </a:p>
            <a:p>
              <a:pPr defTabSz="904538">
                <a:lnSpc>
                  <a:spcPct val="90000"/>
                </a:lnSpc>
                <a:spcBef>
                  <a:spcPct val="20000"/>
                </a:spcBef>
                <a:buSzPct val="100000"/>
              </a:pPr>
              <a:r>
                <a:rPr lang="en-US" sz="2400" dirty="0">
                  <a:solidFill>
                    <a:schemeClr val="tx1"/>
                  </a:solidFill>
                </a:rPr>
                <a:t>There is significant overhead associated with change tracking and the context remembering all of your entities. Under certain circumstances, this can be a benefit; however, you will never see the same performance as you can get with raw ADO.NET or something like Dapper</a:t>
              </a:r>
            </a:p>
            <a:p>
              <a:pPr marL="342900" indent="-342900" defTabSz="904538">
                <a:lnSpc>
                  <a:spcPct val="90000"/>
                </a:lnSpc>
                <a:spcBef>
                  <a:spcPct val="20000"/>
                </a:spcBef>
                <a:buSzPct val="100000"/>
                <a:buFont typeface="Arial" panose="020B0604020202020204" pitchFamily="34" charset="0"/>
                <a:buChar char="•"/>
              </a:pPr>
              <a:endParaRPr lang="en-US" sz="2077" dirty="0">
                <a:solidFill>
                  <a:schemeClr val="tx1"/>
                </a:solidFill>
              </a:endParaRPr>
            </a:p>
          </p:txBody>
        </p:sp>
        <p:sp>
          <p:nvSpPr>
            <p:cNvPr id="8" name="AutoShape 5">
              <a:extLst>
                <a:ext uri="{FF2B5EF4-FFF2-40B4-BE49-F238E27FC236}">
                  <a16:creationId xmlns:a16="http://schemas.microsoft.com/office/drawing/2014/main" id="{33D0B4DA-DFA5-DE4B-89AB-CEFBC9F3A0FE}"/>
                </a:ext>
              </a:extLst>
            </p:cNvPr>
            <p:cNvSpPr>
              <a:spLocks noChangeArrowheads="1"/>
            </p:cNvSpPr>
            <p:nvPr/>
          </p:nvSpPr>
          <p:spPr bwMode="auto">
            <a:xfrm rot="5400000">
              <a:off x="5314726" y="-692430"/>
              <a:ext cx="1936750" cy="7049063"/>
            </a:xfrm>
            <a:prstGeom prst="rightArrowCallout">
              <a:avLst>
                <a:gd name="adj1" fmla="val 45088"/>
                <a:gd name="adj2" fmla="val 38111"/>
                <a:gd name="adj3" fmla="val 9009"/>
                <a:gd name="adj4" fmla="val 85060"/>
              </a:avLst>
            </a:prstGeom>
            <a:solidFill>
              <a:schemeClr val="bg2"/>
            </a:solidFill>
            <a:ln>
              <a:solidFill>
                <a:schemeClr val="tx1"/>
              </a:solidFill>
            </a:ln>
          </p:spPr>
          <p:style>
            <a:lnRef idx="2">
              <a:schemeClr val="accent2"/>
            </a:lnRef>
            <a:fillRef idx="1">
              <a:schemeClr val="lt1"/>
            </a:fillRef>
            <a:effectRef idx="0">
              <a:schemeClr val="accent2"/>
            </a:effectRef>
            <a:fontRef idx="minor">
              <a:schemeClr val="dk1"/>
            </a:fontRef>
          </p:style>
          <p:txBody>
            <a:bodyPr vert="vert270" tIns="105508" bIns="105508" anchor="ctr"/>
            <a:lstStyle/>
            <a:p>
              <a:pPr algn="ctr" defTabSz="904538">
                <a:lnSpc>
                  <a:spcPct val="90000"/>
                </a:lnSpc>
                <a:spcBef>
                  <a:spcPct val="20000"/>
                </a:spcBef>
                <a:buSzPct val="100000"/>
              </a:pPr>
              <a:r>
                <a:rPr lang="en-US" sz="2800" dirty="0">
                  <a:solidFill>
                    <a:schemeClr val="bg1"/>
                  </a:solidFill>
                </a:rPr>
                <a:t>Entity Framework Core’s primary goal is reliable execution, so the SQL it generates will not be the most performant (especially against Cosmos DB)</a:t>
              </a:r>
            </a:p>
          </p:txBody>
        </p:sp>
        <p:sp>
          <p:nvSpPr>
            <p:cNvPr id="9" name="AutoShape 8">
              <a:extLst>
                <a:ext uri="{FF2B5EF4-FFF2-40B4-BE49-F238E27FC236}">
                  <a16:creationId xmlns:a16="http://schemas.microsoft.com/office/drawing/2014/main" id="{7482C63F-CF6A-6147-B494-ABEF96D06659}"/>
                </a:ext>
              </a:extLst>
            </p:cNvPr>
            <p:cNvSpPr>
              <a:spLocks noChangeArrowheads="1"/>
            </p:cNvSpPr>
            <p:nvPr/>
          </p:nvSpPr>
          <p:spPr bwMode="auto">
            <a:xfrm rot="5400000" flipH="1">
              <a:off x="6118634" y="2648064"/>
              <a:ext cx="322262" cy="1400935"/>
            </a:xfrm>
            <a:prstGeom prst="rightArrow">
              <a:avLst>
                <a:gd name="adj1" fmla="val 61444"/>
                <a:gd name="adj2" fmla="val 59755"/>
              </a:avLst>
            </a:prstGeom>
            <a:solidFill>
              <a:schemeClr val="bg1">
                <a:lumMod val="95000"/>
              </a:schemeClr>
            </a:solidFill>
            <a:ln cap="rnd">
              <a:solidFill>
                <a:schemeClr val="bg1">
                  <a:lumMod val="95000"/>
                  <a:alpha val="93000"/>
                </a:schemeClr>
              </a:solidFill>
              <a:prstDash val="solid"/>
              <a:round/>
            </a:ln>
          </p:spPr>
          <p:style>
            <a:lnRef idx="2">
              <a:schemeClr val="accent3">
                <a:shade val="50000"/>
              </a:schemeClr>
            </a:lnRef>
            <a:fillRef idx="1">
              <a:schemeClr val="accent3"/>
            </a:fillRef>
            <a:effectRef idx="0">
              <a:schemeClr val="accent3"/>
            </a:effectRef>
            <a:fontRef idx="minor">
              <a:schemeClr val="lt1"/>
            </a:fontRef>
          </p:style>
          <p:txBody>
            <a:bodyPr vert="horz" lIns="94956" tIns="94956" rIns="94956" bIns="94956" anchor="ctr" anchorCtr="1"/>
            <a:lstStyle/>
            <a:p>
              <a:pPr algn="ctr" defTabSz="949531" eaLnBrk="0" fontAlgn="base" hangingPunct="0">
                <a:spcBef>
                  <a:spcPct val="0"/>
                </a:spcBef>
                <a:spcAft>
                  <a:spcPct val="0"/>
                </a:spcAft>
              </a:pPr>
              <a:endParaRPr lang="en-US" sz="2077" b="1">
                <a:solidFill>
                  <a:schemeClr val="tx1"/>
                </a:solidFill>
              </a:endParaRPr>
            </a:p>
          </p:txBody>
        </p:sp>
      </p:grpSp>
    </p:spTree>
    <p:extLst>
      <p:ext uri="{BB962C8B-B14F-4D97-AF65-F5344CB8AC3E}">
        <p14:creationId xmlns:p14="http://schemas.microsoft.com/office/powerpoint/2010/main" val="32874299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F1FAACA-FD68-6643-8917-B5FF37F9336C}"/>
              </a:ext>
            </a:extLst>
          </p:cNvPr>
          <p:cNvPicPr>
            <a:picLocks noChangeAspect="1"/>
          </p:cNvPicPr>
          <p:nvPr/>
        </p:nvPicPr>
        <p:blipFill rotWithShape="1">
          <a:blip r:embed="rId3">
            <a:alphaModFix/>
          </a:blip>
          <a:srcRect l="20880" r="20880"/>
          <a:stretch/>
        </p:blipFill>
        <p:spPr>
          <a:xfrm>
            <a:off x="0" y="-18472"/>
            <a:ext cx="6095999" cy="6858000"/>
          </a:xfrm>
          <a:prstGeom prst="rect">
            <a:avLst/>
          </a:prstGeom>
        </p:spPr>
      </p:pic>
      <p:sp>
        <p:nvSpPr>
          <p:cNvPr id="3" name="Slide Number Placeholder 2">
            <a:extLst>
              <a:ext uri="{FF2B5EF4-FFF2-40B4-BE49-F238E27FC236}">
                <a16:creationId xmlns:a16="http://schemas.microsoft.com/office/drawing/2014/main" id="{38463FFD-39CE-BB41-BCDD-695F206E5795}"/>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26C51A-D5C8-414C-B110-B45114A5F481}" type="slidenum">
              <a:rPr kumimoji="0" lang="en-US" sz="1000" b="1"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10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itle 2">
            <a:extLst>
              <a:ext uri="{FF2B5EF4-FFF2-40B4-BE49-F238E27FC236}">
                <a16:creationId xmlns:a16="http://schemas.microsoft.com/office/drawing/2014/main" id="{D8B09FCB-915C-7D4E-9B39-7EA7CCB6E120}"/>
              </a:ext>
            </a:extLst>
          </p:cNvPr>
          <p:cNvSpPr txBox="1">
            <a:spLocks/>
          </p:cNvSpPr>
          <p:nvPr/>
        </p:nvSpPr>
        <p:spPr>
          <a:xfrm>
            <a:off x="6641860" y="348062"/>
            <a:ext cx="4721083" cy="1021868"/>
          </a:xfrm>
          <a:prstGeom prst="rect">
            <a:avLst/>
          </a:prstGeom>
        </p:spPr>
        <p:txBody>
          <a:bodyPr anchor="ctr"/>
          <a:lstStyle>
            <a:lvl1pPr algn="l" defTabSz="783964" rtl="0" eaLnBrk="1" latinLnBrk="0" hangingPunct="1">
              <a:lnSpc>
                <a:spcPct val="90000"/>
              </a:lnSpc>
              <a:spcBef>
                <a:spcPct val="0"/>
              </a:spcBef>
              <a:buNone/>
              <a:defRPr lang="en-US" sz="2800" b="1" kern="1200" dirty="0">
                <a:solidFill>
                  <a:srgbClr val="082952"/>
                </a:solidFill>
                <a:latin typeface="Calibri"/>
                <a:ea typeface="+mj-ea"/>
                <a:cs typeface="Calibri"/>
              </a:defRPr>
            </a:lvl1pPr>
          </a:lstStyle>
          <a:p>
            <a:pPr marL="0" marR="0" lvl="0" indent="0" defTabSz="783964"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300" normalizeH="0" baseline="0" noProof="0">
                <a:ln>
                  <a:noFill/>
                </a:ln>
                <a:solidFill>
                  <a:schemeClr val="bg1"/>
                </a:solidFill>
                <a:effectLst/>
                <a:uLnTx/>
                <a:uFillTx/>
                <a:latin typeface="Calibri"/>
                <a:ea typeface="+mj-ea"/>
                <a:cs typeface="Calibri"/>
              </a:rPr>
              <a:t>AGENDA</a:t>
            </a:r>
          </a:p>
        </p:txBody>
      </p:sp>
      <p:sp>
        <p:nvSpPr>
          <p:cNvPr id="13" name="TextBox 12">
            <a:extLst>
              <a:ext uri="{FF2B5EF4-FFF2-40B4-BE49-F238E27FC236}">
                <a16:creationId xmlns:a16="http://schemas.microsoft.com/office/drawing/2014/main" id="{BFE89E22-2018-7042-BE1B-529F6C498130}"/>
              </a:ext>
            </a:extLst>
          </p:cNvPr>
          <p:cNvSpPr txBox="1"/>
          <p:nvPr/>
        </p:nvSpPr>
        <p:spPr>
          <a:xfrm>
            <a:off x="7317590" y="1686485"/>
            <a:ext cx="4068706" cy="707886"/>
          </a:xfrm>
          <a:prstGeom prst="rect">
            <a:avLst/>
          </a:prstGeom>
          <a:noFill/>
          <a:ln>
            <a:noFill/>
          </a:ln>
        </p:spPr>
        <p:txBody>
          <a:bodyPr wrap="square" rtlCol="0">
            <a:spAutoFit/>
          </a:bodyPr>
          <a:lstStyle/>
          <a:p>
            <a:r>
              <a:rPr lang="en-US" sz="2000" b="1" dirty="0">
                <a:solidFill>
                  <a:schemeClr val="bg1"/>
                </a:solidFill>
                <a:cs typeface="Aharoni" panose="02010803020104030203" pitchFamily="2" charset="-79"/>
              </a:rPr>
              <a:t>Configuration – The Defaults </a:t>
            </a:r>
            <a:r>
              <a:rPr lang="en-US" sz="2000" b="1" i="1" dirty="0">
                <a:solidFill>
                  <a:schemeClr val="bg1"/>
                </a:solidFill>
                <a:cs typeface="Aharoni" panose="02010803020104030203" pitchFamily="2" charset="-79"/>
              </a:rPr>
              <a:t>May</a:t>
            </a:r>
            <a:r>
              <a:rPr lang="en-US" sz="2000" b="1" dirty="0">
                <a:solidFill>
                  <a:schemeClr val="bg1"/>
                </a:solidFill>
                <a:cs typeface="Aharoni" panose="02010803020104030203" pitchFamily="2" charset="-79"/>
              </a:rPr>
              <a:t> Let You Down…</a:t>
            </a:r>
            <a:endParaRPr lang="en-US" sz="1600" b="1" dirty="0">
              <a:solidFill>
                <a:schemeClr val="bg1"/>
              </a:solidFill>
              <a:cs typeface="Aharoni" panose="02010803020104030203" pitchFamily="2" charset="-79"/>
            </a:endParaRPr>
          </a:p>
        </p:txBody>
      </p:sp>
      <p:cxnSp>
        <p:nvCxnSpPr>
          <p:cNvPr id="11" name="Straight Connector 10">
            <a:extLst>
              <a:ext uri="{FF2B5EF4-FFF2-40B4-BE49-F238E27FC236}">
                <a16:creationId xmlns:a16="http://schemas.microsoft.com/office/drawing/2014/main" id="{14B15FD2-C644-9E4C-9C80-7893109CD396}"/>
              </a:ext>
            </a:extLst>
          </p:cNvPr>
          <p:cNvCxnSpPr>
            <a:cxnSpLocks/>
          </p:cNvCxnSpPr>
          <p:nvPr/>
        </p:nvCxnSpPr>
        <p:spPr>
          <a:xfrm>
            <a:off x="6727204" y="1245776"/>
            <a:ext cx="64008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drawing&#10;&#10;Description automatically generated">
            <a:extLst>
              <a:ext uri="{FF2B5EF4-FFF2-40B4-BE49-F238E27FC236}">
                <a16:creationId xmlns:a16="http://schemas.microsoft.com/office/drawing/2014/main" id="{0F96FDE9-014D-BC46-AAC6-2C82424379D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400491"/>
            <a:ext cx="1600200" cy="276841"/>
          </a:xfrm>
          <a:prstGeom prst="rect">
            <a:avLst/>
          </a:prstGeom>
        </p:spPr>
      </p:pic>
      <p:grpSp>
        <p:nvGrpSpPr>
          <p:cNvPr id="10" name="Group 9">
            <a:extLst>
              <a:ext uri="{FF2B5EF4-FFF2-40B4-BE49-F238E27FC236}">
                <a16:creationId xmlns:a16="http://schemas.microsoft.com/office/drawing/2014/main" id="{B926DC3D-89AD-AE4E-9CF2-E685BC479BAA}"/>
              </a:ext>
            </a:extLst>
          </p:cNvPr>
          <p:cNvGrpSpPr/>
          <p:nvPr/>
        </p:nvGrpSpPr>
        <p:grpSpPr>
          <a:xfrm>
            <a:off x="6727204" y="1690180"/>
            <a:ext cx="473458" cy="396415"/>
            <a:chOff x="3187975" y="1648985"/>
            <a:chExt cx="1145727" cy="959289"/>
          </a:xfrm>
        </p:grpSpPr>
        <p:sp>
          <p:nvSpPr>
            <p:cNvPr id="12" name="Diamond 11">
              <a:extLst>
                <a:ext uri="{FF2B5EF4-FFF2-40B4-BE49-F238E27FC236}">
                  <a16:creationId xmlns:a16="http://schemas.microsoft.com/office/drawing/2014/main" id="{83A8CE9F-E3E6-974E-90AE-14E481F2504D}"/>
                </a:ext>
              </a:extLst>
            </p:cNvPr>
            <p:cNvSpPr/>
            <p:nvPr/>
          </p:nvSpPr>
          <p:spPr>
            <a:xfrm>
              <a:off x="3657367" y="1789193"/>
              <a:ext cx="676335" cy="676335"/>
            </a:xfrm>
            <a:prstGeom prst="diamond">
              <a:avLst/>
            </a:prstGeom>
            <a:solidFill>
              <a:schemeClr val="accent5">
                <a:alpha val="3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iamond 15">
              <a:extLst>
                <a:ext uri="{FF2B5EF4-FFF2-40B4-BE49-F238E27FC236}">
                  <a16:creationId xmlns:a16="http://schemas.microsoft.com/office/drawing/2014/main" id="{6AD6F9E0-F2A3-F649-93C3-11DEB53493F2}"/>
                </a:ext>
              </a:extLst>
            </p:cNvPr>
            <p:cNvSpPr/>
            <p:nvPr/>
          </p:nvSpPr>
          <p:spPr>
            <a:xfrm>
              <a:off x="3187975" y="1648985"/>
              <a:ext cx="959289" cy="959289"/>
            </a:xfrm>
            <a:prstGeom prst="diamond">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TextBox 16">
            <a:extLst>
              <a:ext uri="{FF2B5EF4-FFF2-40B4-BE49-F238E27FC236}">
                <a16:creationId xmlns:a16="http://schemas.microsoft.com/office/drawing/2014/main" id="{90D0CCDA-27C6-5340-9965-D39809F1E27B}"/>
              </a:ext>
            </a:extLst>
          </p:cNvPr>
          <p:cNvSpPr txBox="1"/>
          <p:nvPr/>
        </p:nvSpPr>
        <p:spPr>
          <a:xfrm>
            <a:off x="7317590" y="2406053"/>
            <a:ext cx="4068706" cy="707886"/>
          </a:xfrm>
          <a:prstGeom prst="rect">
            <a:avLst/>
          </a:prstGeom>
          <a:noFill/>
          <a:ln>
            <a:noFill/>
          </a:ln>
        </p:spPr>
        <p:txBody>
          <a:bodyPr wrap="square" rtlCol="0">
            <a:spAutoFit/>
          </a:bodyPr>
          <a:lstStyle/>
          <a:p>
            <a:r>
              <a:rPr lang="en-US" sz="2000" b="1" dirty="0">
                <a:solidFill>
                  <a:schemeClr val="bg1"/>
                </a:solidFill>
                <a:cs typeface="Aharoni" panose="02010803020104030203" pitchFamily="2" charset="-79"/>
              </a:rPr>
              <a:t>Access Patterns – Not All CRUD Is Created Equally</a:t>
            </a:r>
            <a:endParaRPr lang="en-US" sz="1600" b="1" dirty="0">
              <a:solidFill>
                <a:schemeClr val="bg1"/>
              </a:solidFill>
              <a:cs typeface="Aharoni" panose="02010803020104030203" pitchFamily="2" charset="-79"/>
            </a:endParaRPr>
          </a:p>
        </p:txBody>
      </p:sp>
      <p:sp>
        <p:nvSpPr>
          <p:cNvPr id="21" name="TextBox 20">
            <a:extLst>
              <a:ext uri="{FF2B5EF4-FFF2-40B4-BE49-F238E27FC236}">
                <a16:creationId xmlns:a16="http://schemas.microsoft.com/office/drawing/2014/main" id="{63A6CA92-59E0-3A47-A7F4-CD3CDBAE8951}"/>
              </a:ext>
            </a:extLst>
          </p:cNvPr>
          <p:cNvSpPr txBox="1"/>
          <p:nvPr/>
        </p:nvSpPr>
        <p:spPr>
          <a:xfrm>
            <a:off x="7339301" y="3125621"/>
            <a:ext cx="4068706" cy="707886"/>
          </a:xfrm>
          <a:prstGeom prst="rect">
            <a:avLst/>
          </a:prstGeom>
          <a:noFill/>
          <a:ln>
            <a:noFill/>
          </a:ln>
        </p:spPr>
        <p:txBody>
          <a:bodyPr wrap="square" rtlCol="0">
            <a:spAutoFit/>
          </a:bodyPr>
          <a:lstStyle/>
          <a:p>
            <a:r>
              <a:rPr lang="en-US" sz="2000" b="1" i="1" dirty="0">
                <a:solidFill>
                  <a:schemeClr val="bg1"/>
                </a:solidFill>
                <a:cs typeface="Aharoni" panose="02010803020104030203" pitchFamily="2" charset="-79"/>
              </a:rPr>
              <a:t>WARNING!</a:t>
            </a:r>
            <a:r>
              <a:rPr lang="en-US" sz="2000" b="1" dirty="0">
                <a:solidFill>
                  <a:schemeClr val="bg1"/>
                </a:solidFill>
                <a:cs typeface="Aharoni" panose="02010803020104030203" pitchFamily="2" charset="-79"/>
              </a:rPr>
              <a:t> – Easy Ways to Shoot Yourself in the Foot</a:t>
            </a:r>
            <a:endParaRPr lang="en-US" sz="1600" b="1" dirty="0">
              <a:solidFill>
                <a:schemeClr val="bg1"/>
              </a:solidFill>
              <a:cs typeface="Aharoni" panose="02010803020104030203" pitchFamily="2" charset="-79"/>
            </a:endParaRPr>
          </a:p>
        </p:txBody>
      </p:sp>
      <p:grpSp>
        <p:nvGrpSpPr>
          <p:cNvPr id="22" name="Group 21">
            <a:extLst>
              <a:ext uri="{FF2B5EF4-FFF2-40B4-BE49-F238E27FC236}">
                <a16:creationId xmlns:a16="http://schemas.microsoft.com/office/drawing/2014/main" id="{F3BC660A-937E-014C-B74B-37F050EAD8E6}"/>
              </a:ext>
            </a:extLst>
          </p:cNvPr>
          <p:cNvGrpSpPr/>
          <p:nvPr/>
        </p:nvGrpSpPr>
        <p:grpSpPr>
          <a:xfrm>
            <a:off x="6748915" y="3129316"/>
            <a:ext cx="473458" cy="396415"/>
            <a:chOff x="3187975" y="1648985"/>
            <a:chExt cx="1145727" cy="959289"/>
          </a:xfrm>
        </p:grpSpPr>
        <p:sp>
          <p:nvSpPr>
            <p:cNvPr id="23" name="Diamond 22">
              <a:extLst>
                <a:ext uri="{FF2B5EF4-FFF2-40B4-BE49-F238E27FC236}">
                  <a16:creationId xmlns:a16="http://schemas.microsoft.com/office/drawing/2014/main" id="{B8C29F91-7BFB-0647-A032-23E59B5531CC}"/>
                </a:ext>
              </a:extLst>
            </p:cNvPr>
            <p:cNvSpPr/>
            <p:nvPr/>
          </p:nvSpPr>
          <p:spPr>
            <a:xfrm>
              <a:off x="3657367" y="1789193"/>
              <a:ext cx="676335" cy="676335"/>
            </a:xfrm>
            <a:prstGeom prst="diamond">
              <a:avLst/>
            </a:prstGeom>
            <a:solidFill>
              <a:schemeClr val="accent5">
                <a:alpha val="3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Diamond 23">
              <a:extLst>
                <a:ext uri="{FF2B5EF4-FFF2-40B4-BE49-F238E27FC236}">
                  <a16:creationId xmlns:a16="http://schemas.microsoft.com/office/drawing/2014/main" id="{B33B4769-B44D-F14C-86CF-142790FFA4A8}"/>
                </a:ext>
              </a:extLst>
            </p:cNvPr>
            <p:cNvSpPr/>
            <p:nvPr/>
          </p:nvSpPr>
          <p:spPr>
            <a:xfrm>
              <a:off x="3187975" y="1648985"/>
              <a:ext cx="959289" cy="959289"/>
            </a:xfrm>
            <a:prstGeom prst="diamond">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TextBox 24">
            <a:extLst>
              <a:ext uri="{FF2B5EF4-FFF2-40B4-BE49-F238E27FC236}">
                <a16:creationId xmlns:a16="http://schemas.microsoft.com/office/drawing/2014/main" id="{E9114DD3-20D3-2C4E-BCB8-DF7A7B6460C3}"/>
              </a:ext>
            </a:extLst>
          </p:cNvPr>
          <p:cNvSpPr txBox="1"/>
          <p:nvPr/>
        </p:nvSpPr>
        <p:spPr>
          <a:xfrm>
            <a:off x="7339301" y="3845189"/>
            <a:ext cx="4068706" cy="707886"/>
          </a:xfrm>
          <a:prstGeom prst="rect">
            <a:avLst/>
          </a:prstGeom>
          <a:noFill/>
          <a:ln>
            <a:noFill/>
          </a:ln>
        </p:spPr>
        <p:txBody>
          <a:bodyPr wrap="square" rtlCol="0">
            <a:spAutoFit/>
          </a:bodyPr>
          <a:lstStyle/>
          <a:p>
            <a:r>
              <a:rPr lang="en-US" sz="2000" b="1" dirty="0">
                <a:solidFill>
                  <a:schemeClr val="bg1"/>
                </a:solidFill>
                <a:cs typeface="Aharoni" panose="02010803020104030203" pitchFamily="2" charset="-79"/>
              </a:rPr>
              <a:t>Database Design – You Only Get One Chance</a:t>
            </a:r>
            <a:endParaRPr lang="en-US" sz="1600" b="1" dirty="0">
              <a:solidFill>
                <a:schemeClr val="bg1"/>
              </a:solidFill>
              <a:cs typeface="Aharoni" panose="02010803020104030203" pitchFamily="2" charset="-79"/>
            </a:endParaRPr>
          </a:p>
        </p:txBody>
      </p:sp>
      <p:grpSp>
        <p:nvGrpSpPr>
          <p:cNvPr id="26" name="Group 25">
            <a:extLst>
              <a:ext uri="{FF2B5EF4-FFF2-40B4-BE49-F238E27FC236}">
                <a16:creationId xmlns:a16="http://schemas.microsoft.com/office/drawing/2014/main" id="{494C6458-ED5E-C646-A021-09269BFA1E52}"/>
              </a:ext>
            </a:extLst>
          </p:cNvPr>
          <p:cNvGrpSpPr/>
          <p:nvPr/>
        </p:nvGrpSpPr>
        <p:grpSpPr>
          <a:xfrm>
            <a:off x="6748915" y="3848884"/>
            <a:ext cx="473458" cy="396415"/>
            <a:chOff x="3187975" y="1648985"/>
            <a:chExt cx="1145727" cy="959289"/>
          </a:xfrm>
        </p:grpSpPr>
        <p:sp>
          <p:nvSpPr>
            <p:cNvPr id="27" name="Diamond 26">
              <a:extLst>
                <a:ext uri="{FF2B5EF4-FFF2-40B4-BE49-F238E27FC236}">
                  <a16:creationId xmlns:a16="http://schemas.microsoft.com/office/drawing/2014/main" id="{91043294-7C39-AD47-8A84-1B908719F829}"/>
                </a:ext>
              </a:extLst>
            </p:cNvPr>
            <p:cNvSpPr/>
            <p:nvPr/>
          </p:nvSpPr>
          <p:spPr>
            <a:xfrm>
              <a:off x="3657367" y="1789193"/>
              <a:ext cx="676335" cy="676335"/>
            </a:xfrm>
            <a:prstGeom prst="diamond">
              <a:avLst/>
            </a:prstGeom>
            <a:solidFill>
              <a:schemeClr val="accent5">
                <a:alpha val="3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Diamond 27">
              <a:extLst>
                <a:ext uri="{FF2B5EF4-FFF2-40B4-BE49-F238E27FC236}">
                  <a16:creationId xmlns:a16="http://schemas.microsoft.com/office/drawing/2014/main" id="{6EA24E1E-639E-C447-A88D-C9CAFF759E4B}"/>
                </a:ext>
              </a:extLst>
            </p:cNvPr>
            <p:cNvSpPr/>
            <p:nvPr/>
          </p:nvSpPr>
          <p:spPr>
            <a:xfrm>
              <a:off x="3187975" y="1648985"/>
              <a:ext cx="959289" cy="959289"/>
            </a:xfrm>
            <a:prstGeom prst="diamond">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9" name="TextBox 28">
            <a:extLst>
              <a:ext uri="{FF2B5EF4-FFF2-40B4-BE49-F238E27FC236}">
                <a16:creationId xmlns:a16="http://schemas.microsoft.com/office/drawing/2014/main" id="{2E61E6E8-5291-2E44-A9CC-66C25C7A03B2}"/>
              </a:ext>
            </a:extLst>
          </p:cNvPr>
          <p:cNvSpPr txBox="1"/>
          <p:nvPr/>
        </p:nvSpPr>
        <p:spPr>
          <a:xfrm>
            <a:off x="7339301" y="4564757"/>
            <a:ext cx="4068706" cy="707886"/>
          </a:xfrm>
          <a:prstGeom prst="rect">
            <a:avLst/>
          </a:prstGeom>
          <a:noFill/>
          <a:ln>
            <a:noFill/>
          </a:ln>
        </p:spPr>
        <p:txBody>
          <a:bodyPr wrap="square" rtlCol="0">
            <a:spAutoFit/>
          </a:bodyPr>
          <a:lstStyle/>
          <a:p>
            <a:pPr>
              <a:defRPr/>
            </a:pPr>
            <a:r>
              <a:rPr lang="en-US" sz="2000" b="1" i="1" dirty="0">
                <a:solidFill>
                  <a:schemeClr val="bg1"/>
                </a:solidFill>
                <a:cs typeface="Aharoni" panose="02010803020104030203" pitchFamily="2" charset="-79"/>
              </a:rPr>
              <a:t>Eject! </a:t>
            </a:r>
            <a:r>
              <a:rPr lang="en-US" sz="2000" b="1" dirty="0">
                <a:solidFill>
                  <a:schemeClr val="bg1"/>
                </a:solidFill>
                <a:cs typeface="Aharoni" panose="02010803020104030203" pitchFamily="2" charset="-79"/>
              </a:rPr>
              <a:t>– Let’s Be Honest About Things EF Core Is Bad With</a:t>
            </a:r>
            <a:endParaRPr lang="en-US" sz="1600" b="1" dirty="0">
              <a:solidFill>
                <a:schemeClr val="bg1"/>
              </a:solidFill>
              <a:cs typeface="Aharoni" panose="02010803020104030203" pitchFamily="2" charset="-79"/>
            </a:endParaRPr>
          </a:p>
        </p:txBody>
      </p:sp>
      <p:sp>
        <p:nvSpPr>
          <p:cNvPr id="33" name="TextBox 32">
            <a:extLst>
              <a:ext uri="{FF2B5EF4-FFF2-40B4-BE49-F238E27FC236}">
                <a16:creationId xmlns:a16="http://schemas.microsoft.com/office/drawing/2014/main" id="{A16995C6-B215-EE40-977C-7DD5704B2B5D}"/>
              </a:ext>
            </a:extLst>
          </p:cNvPr>
          <p:cNvSpPr txBox="1"/>
          <p:nvPr/>
        </p:nvSpPr>
        <p:spPr>
          <a:xfrm>
            <a:off x="7361012" y="5284325"/>
            <a:ext cx="4068706" cy="400110"/>
          </a:xfrm>
          <a:prstGeom prst="rect">
            <a:avLst/>
          </a:prstGeom>
          <a:noFill/>
          <a:ln>
            <a:noFill/>
          </a:ln>
        </p:spPr>
        <p:txBody>
          <a:bodyPr wrap="square" rtlCol="0">
            <a:spAutoFit/>
          </a:bodyPr>
          <a:lstStyle/>
          <a:p>
            <a:r>
              <a:rPr lang="en-US" sz="2000" b="1" dirty="0">
                <a:solidFill>
                  <a:schemeClr val="bg1"/>
                </a:solidFill>
                <a:cs typeface="Aharoni" panose="02010803020104030203" pitchFamily="2" charset="-79"/>
              </a:rPr>
              <a:t>Question Time</a:t>
            </a:r>
            <a:endParaRPr lang="en-US" sz="1600" b="1" dirty="0">
              <a:solidFill>
                <a:schemeClr val="bg1"/>
              </a:solidFill>
              <a:cs typeface="Aharoni" panose="02010803020104030203" pitchFamily="2" charset="-79"/>
            </a:endParaRPr>
          </a:p>
        </p:txBody>
      </p:sp>
      <p:grpSp>
        <p:nvGrpSpPr>
          <p:cNvPr id="34" name="Group 33">
            <a:extLst>
              <a:ext uri="{FF2B5EF4-FFF2-40B4-BE49-F238E27FC236}">
                <a16:creationId xmlns:a16="http://schemas.microsoft.com/office/drawing/2014/main" id="{DBF1E87C-804B-814D-A02D-751FD7A3CD93}"/>
              </a:ext>
            </a:extLst>
          </p:cNvPr>
          <p:cNvGrpSpPr/>
          <p:nvPr/>
        </p:nvGrpSpPr>
        <p:grpSpPr>
          <a:xfrm>
            <a:off x="6770626" y="5288020"/>
            <a:ext cx="473458" cy="396415"/>
            <a:chOff x="3187975" y="1648985"/>
            <a:chExt cx="1145727" cy="959289"/>
          </a:xfrm>
        </p:grpSpPr>
        <p:sp>
          <p:nvSpPr>
            <p:cNvPr id="35" name="Diamond 34">
              <a:extLst>
                <a:ext uri="{FF2B5EF4-FFF2-40B4-BE49-F238E27FC236}">
                  <a16:creationId xmlns:a16="http://schemas.microsoft.com/office/drawing/2014/main" id="{0A5E0DC9-7245-F44C-A1B9-44E6C7CAD712}"/>
                </a:ext>
              </a:extLst>
            </p:cNvPr>
            <p:cNvSpPr/>
            <p:nvPr/>
          </p:nvSpPr>
          <p:spPr>
            <a:xfrm>
              <a:off x="3657367" y="1789193"/>
              <a:ext cx="676335" cy="676335"/>
            </a:xfrm>
            <a:prstGeom prst="diamond">
              <a:avLst/>
            </a:prstGeom>
            <a:solidFill>
              <a:schemeClr val="accent5">
                <a:alpha val="3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Diamond 35">
              <a:extLst>
                <a:ext uri="{FF2B5EF4-FFF2-40B4-BE49-F238E27FC236}">
                  <a16:creationId xmlns:a16="http://schemas.microsoft.com/office/drawing/2014/main" id="{521CE5AC-F60F-594F-A572-8AE20BF2078C}"/>
                </a:ext>
              </a:extLst>
            </p:cNvPr>
            <p:cNvSpPr/>
            <p:nvPr/>
          </p:nvSpPr>
          <p:spPr>
            <a:xfrm>
              <a:off x="3187975" y="1648985"/>
              <a:ext cx="959289" cy="959289"/>
            </a:xfrm>
            <a:prstGeom prst="diamond">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2" name="Group 41">
            <a:extLst>
              <a:ext uri="{FF2B5EF4-FFF2-40B4-BE49-F238E27FC236}">
                <a16:creationId xmlns:a16="http://schemas.microsoft.com/office/drawing/2014/main" id="{25980DE5-FBBB-41EB-A751-9276ECAC2DD0}"/>
              </a:ext>
            </a:extLst>
          </p:cNvPr>
          <p:cNvGrpSpPr/>
          <p:nvPr/>
        </p:nvGrpSpPr>
        <p:grpSpPr>
          <a:xfrm>
            <a:off x="6727202" y="2358378"/>
            <a:ext cx="473457" cy="396416"/>
            <a:chOff x="3187975" y="1648985"/>
            <a:chExt cx="1145727" cy="959289"/>
          </a:xfrm>
        </p:grpSpPr>
        <p:sp>
          <p:nvSpPr>
            <p:cNvPr id="43" name="Diamond 42">
              <a:extLst>
                <a:ext uri="{FF2B5EF4-FFF2-40B4-BE49-F238E27FC236}">
                  <a16:creationId xmlns:a16="http://schemas.microsoft.com/office/drawing/2014/main" id="{91481248-9248-43D0-BE93-49F39BE08A72}"/>
                </a:ext>
              </a:extLst>
            </p:cNvPr>
            <p:cNvSpPr/>
            <p:nvPr/>
          </p:nvSpPr>
          <p:spPr>
            <a:xfrm>
              <a:off x="3657367" y="1789193"/>
              <a:ext cx="676335" cy="676335"/>
            </a:xfrm>
            <a:prstGeom prst="diamond">
              <a:avLst/>
            </a:prstGeom>
            <a:solidFill>
              <a:schemeClr val="accent5">
                <a:alpha val="3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Diamond 43">
              <a:extLst>
                <a:ext uri="{FF2B5EF4-FFF2-40B4-BE49-F238E27FC236}">
                  <a16:creationId xmlns:a16="http://schemas.microsoft.com/office/drawing/2014/main" id="{C04F5FC8-304D-4984-83FE-9467D68C74E7}"/>
                </a:ext>
              </a:extLst>
            </p:cNvPr>
            <p:cNvSpPr/>
            <p:nvPr/>
          </p:nvSpPr>
          <p:spPr>
            <a:xfrm>
              <a:off x="3187975" y="1648985"/>
              <a:ext cx="959289" cy="959289"/>
            </a:xfrm>
            <a:prstGeom prst="diamond">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1" name="Group 50">
            <a:extLst>
              <a:ext uri="{FF2B5EF4-FFF2-40B4-BE49-F238E27FC236}">
                <a16:creationId xmlns:a16="http://schemas.microsoft.com/office/drawing/2014/main" id="{B9BCBAFB-E18F-495F-8F9E-206B84A80D6B}"/>
              </a:ext>
            </a:extLst>
          </p:cNvPr>
          <p:cNvGrpSpPr/>
          <p:nvPr/>
        </p:nvGrpSpPr>
        <p:grpSpPr>
          <a:xfrm>
            <a:off x="6748913" y="4517082"/>
            <a:ext cx="473457" cy="396416"/>
            <a:chOff x="3187975" y="1648985"/>
            <a:chExt cx="1145727" cy="959289"/>
          </a:xfrm>
        </p:grpSpPr>
        <p:sp>
          <p:nvSpPr>
            <p:cNvPr id="52" name="Diamond 51">
              <a:extLst>
                <a:ext uri="{FF2B5EF4-FFF2-40B4-BE49-F238E27FC236}">
                  <a16:creationId xmlns:a16="http://schemas.microsoft.com/office/drawing/2014/main" id="{D55D909B-027F-4797-AAB6-40A9FCDD25B3}"/>
                </a:ext>
              </a:extLst>
            </p:cNvPr>
            <p:cNvSpPr/>
            <p:nvPr/>
          </p:nvSpPr>
          <p:spPr>
            <a:xfrm>
              <a:off x="3657367" y="1789193"/>
              <a:ext cx="676335" cy="676335"/>
            </a:xfrm>
            <a:prstGeom prst="diamond">
              <a:avLst/>
            </a:prstGeom>
            <a:solidFill>
              <a:schemeClr val="accent5">
                <a:alpha val="3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Diamond 52">
              <a:extLst>
                <a:ext uri="{FF2B5EF4-FFF2-40B4-BE49-F238E27FC236}">
                  <a16:creationId xmlns:a16="http://schemas.microsoft.com/office/drawing/2014/main" id="{70AAA881-AA18-4C5A-9F58-ECB85FAD0267}"/>
                </a:ext>
              </a:extLst>
            </p:cNvPr>
            <p:cNvSpPr/>
            <p:nvPr/>
          </p:nvSpPr>
          <p:spPr>
            <a:xfrm>
              <a:off x="3187975" y="1648985"/>
              <a:ext cx="959289" cy="959289"/>
            </a:xfrm>
            <a:prstGeom prst="diamond">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ustDataLst>
      <p:tags r:id="rId1"/>
    </p:custDataLst>
    <p:extLst>
      <p:ext uri="{BB962C8B-B14F-4D97-AF65-F5344CB8AC3E}">
        <p14:creationId xmlns:p14="http://schemas.microsoft.com/office/powerpoint/2010/main" val="22363740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1A403-8800-0444-984E-68E96C1C953B}"/>
              </a:ext>
            </a:extLst>
          </p:cNvPr>
          <p:cNvSpPr>
            <a:spLocks noGrp="1"/>
          </p:cNvSpPr>
          <p:nvPr>
            <p:ph type="title"/>
          </p:nvPr>
        </p:nvSpPr>
        <p:spPr/>
        <p:txBody>
          <a:bodyPr/>
          <a:lstStyle/>
          <a:p>
            <a:r>
              <a:rPr lang="en-US" sz="4400" dirty="0"/>
              <a:t>Lastly, Some Guiding Words</a:t>
            </a:r>
          </a:p>
        </p:txBody>
      </p:sp>
      <p:sp>
        <p:nvSpPr>
          <p:cNvPr id="3" name="Text Placeholder 2">
            <a:extLst>
              <a:ext uri="{FF2B5EF4-FFF2-40B4-BE49-F238E27FC236}">
                <a16:creationId xmlns:a16="http://schemas.microsoft.com/office/drawing/2014/main" id="{DDBC7AC9-C844-5343-A4C0-08C6270B9923}"/>
              </a:ext>
            </a:extLst>
          </p:cNvPr>
          <p:cNvSpPr>
            <a:spLocks noGrp="1"/>
          </p:cNvSpPr>
          <p:nvPr>
            <p:ph type="body" sz="quarter" idx="13"/>
          </p:nvPr>
        </p:nvSpPr>
        <p:spPr/>
        <p:txBody>
          <a:bodyPr/>
          <a:lstStyle/>
          <a:p>
            <a:r>
              <a:rPr lang="en-US" dirty="0"/>
              <a:t>EJECT!</a:t>
            </a:r>
          </a:p>
        </p:txBody>
      </p:sp>
      <p:sp>
        <p:nvSpPr>
          <p:cNvPr id="4" name="Slide Number Placeholder 3">
            <a:extLst>
              <a:ext uri="{FF2B5EF4-FFF2-40B4-BE49-F238E27FC236}">
                <a16:creationId xmlns:a16="http://schemas.microsoft.com/office/drawing/2014/main" id="{15D6E5CC-3D54-054C-AF3C-0190B287C9D8}"/>
              </a:ext>
            </a:extLst>
          </p:cNvPr>
          <p:cNvSpPr>
            <a:spLocks noGrp="1"/>
          </p:cNvSpPr>
          <p:nvPr>
            <p:ph type="sldNum" sz="quarter" idx="4"/>
          </p:nvPr>
        </p:nvSpPr>
        <p:spPr/>
        <p:txBody>
          <a:bodyPr/>
          <a:lstStyle/>
          <a:p>
            <a:fld id="{E1123682-AE52-6D45-865E-F1EB3AE0E340}" type="slidenum">
              <a:rPr lang="en-US" smtClean="0"/>
              <a:pPr/>
              <a:t>30</a:t>
            </a:fld>
            <a:endParaRPr lang="en-US" dirty="0"/>
          </a:p>
        </p:txBody>
      </p:sp>
      <p:sp>
        <p:nvSpPr>
          <p:cNvPr id="5" name="Freeform 4">
            <a:extLst>
              <a:ext uri="{FF2B5EF4-FFF2-40B4-BE49-F238E27FC236}">
                <a16:creationId xmlns:a16="http://schemas.microsoft.com/office/drawing/2014/main" id="{34AFA58D-3F18-6740-B46A-674A697B1C81}"/>
              </a:ext>
            </a:extLst>
          </p:cNvPr>
          <p:cNvSpPr>
            <a:spLocks/>
          </p:cNvSpPr>
          <p:nvPr/>
        </p:nvSpPr>
        <p:spPr bwMode="auto">
          <a:xfrm>
            <a:off x="5932875" y="1609359"/>
            <a:ext cx="482720" cy="3867456"/>
          </a:xfrm>
          <a:custGeom>
            <a:avLst/>
            <a:gdLst>
              <a:gd name="connsiteX0" fmla="*/ 0 w 418357"/>
              <a:gd name="connsiteY0" fmla="*/ 0 h 3351795"/>
              <a:gd name="connsiteX1" fmla="*/ 418357 w 418357"/>
              <a:gd name="connsiteY1" fmla="*/ 0 h 3351795"/>
              <a:gd name="connsiteX2" fmla="*/ 418357 w 418357"/>
              <a:gd name="connsiteY2" fmla="*/ 1676734 h 3351795"/>
              <a:gd name="connsiteX3" fmla="*/ 418357 w 418357"/>
              <a:gd name="connsiteY3" fmla="*/ 1765067 h 3351795"/>
              <a:gd name="connsiteX4" fmla="*/ 418357 w 418357"/>
              <a:gd name="connsiteY4" fmla="*/ 1885950 h 3351795"/>
              <a:gd name="connsiteX5" fmla="*/ 418357 w 418357"/>
              <a:gd name="connsiteY5" fmla="*/ 1886117 h 3351795"/>
              <a:gd name="connsiteX6" fmla="*/ 418357 w 418357"/>
              <a:gd name="connsiteY6" fmla="*/ 3351795 h 3351795"/>
              <a:gd name="connsiteX7" fmla="*/ 195683 w 418357"/>
              <a:gd name="connsiteY7" fmla="*/ 3298193 h 3351795"/>
              <a:gd name="connsiteX8" fmla="*/ 0 w 418357"/>
              <a:gd name="connsiteY8" fmla="*/ 3351795 h 3351795"/>
              <a:gd name="connsiteX9" fmla="*/ 0 w 418357"/>
              <a:gd name="connsiteY9" fmla="*/ 2229635 h 3351795"/>
              <a:gd name="connsiteX10" fmla="*/ 0 w 418357"/>
              <a:gd name="connsiteY10" fmla="*/ 1885950 h 3351795"/>
              <a:gd name="connsiteX11" fmla="*/ 0 w 418357"/>
              <a:gd name="connsiteY11" fmla="*/ 1676734 h 3351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357" h="3351795">
                <a:moveTo>
                  <a:pt x="0" y="0"/>
                </a:moveTo>
                <a:lnTo>
                  <a:pt x="418357" y="0"/>
                </a:lnTo>
                <a:lnTo>
                  <a:pt x="418357" y="1676734"/>
                </a:lnTo>
                <a:cubicBezTo>
                  <a:pt x="418357" y="1676734"/>
                  <a:pt x="418357" y="1676734"/>
                  <a:pt x="418357" y="1765067"/>
                </a:cubicBezTo>
                <a:lnTo>
                  <a:pt x="418357" y="1885950"/>
                </a:lnTo>
                <a:lnTo>
                  <a:pt x="418357" y="1886117"/>
                </a:lnTo>
                <a:cubicBezTo>
                  <a:pt x="418357" y="2095499"/>
                  <a:pt x="418357" y="2514265"/>
                  <a:pt x="418357" y="3351795"/>
                </a:cubicBezTo>
                <a:cubicBezTo>
                  <a:pt x="323890" y="3351795"/>
                  <a:pt x="276656" y="3298193"/>
                  <a:pt x="195683" y="3298193"/>
                </a:cubicBezTo>
                <a:cubicBezTo>
                  <a:pt x="114711" y="3298193"/>
                  <a:pt x="87720" y="3351795"/>
                  <a:pt x="0" y="3351795"/>
                </a:cubicBezTo>
                <a:cubicBezTo>
                  <a:pt x="0" y="3351795"/>
                  <a:pt x="0" y="3351795"/>
                  <a:pt x="0" y="2229635"/>
                </a:cubicBezTo>
                <a:lnTo>
                  <a:pt x="0" y="1885950"/>
                </a:lnTo>
                <a:lnTo>
                  <a:pt x="0" y="1676734"/>
                </a:lnTo>
                <a:close/>
              </a:path>
            </a:pathLst>
          </a:custGeom>
          <a:solidFill>
            <a:schemeClr val="tx1"/>
          </a:solidFill>
          <a:ln w="6350" cap="flat">
            <a:noFill/>
            <a:prstDash val="solid"/>
            <a:miter lim="800000"/>
            <a:headEnd/>
            <a:tailEnd/>
          </a:ln>
        </p:spPr>
        <p:txBody>
          <a:bodyPr vert="horz" wrap="square" lIns="84406" tIns="42203" rIns="84406" bIns="42203" numCol="1" anchor="t" anchorCtr="0" compatLnSpc="1">
            <a:prstTxWarp prst="textNoShape">
              <a:avLst/>
            </a:prstTxWarp>
            <a:noAutofit/>
          </a:bodyPr>
          <a:lstStyle/>
          <a:p>
            <a:endParaRPr lang="en-US" sz="3231"/>
          </a:p>
        </p:txBody>
      </p:sp>
      <p:sp>
        <p:nvSpPr>
          <p:cNvPr id="6" name="Freeform 6">
            <a:extLst>
              <a:ext uri="{FF2B5EF4-FFF2-40B4-BE49-F238E27FC236}">
                <a16:creationId xmlns:a16="http://schemas.microsoft.com/office/drawing/2014/main" id="{B6FD486C-D9E4-A142-ACA7-7C76FE7C8796}"/>
              </a:ext>
            </a:extLst>
          </p:cNvPr>
          <p:cNvSpPr>
            <a:spLocks/>
          </p:cNvSpPr>
          <p:nvPr/>
        </p:nvSpPr>
        <p:spPr bwMode="auto">
          <a:xfrm>
            <a:off x="5731114" y="3544052"/>
            <a:ext cx="201762" cy="1932763"/>
          </a:xfrm>
          <a:custGeom>
            <a:avLst/>
            <a:gdLst>
              <a:gd name="T0" fmla="*/ 0 w 26"/>
              <a:gd name="T1" fmla="*/ 0 h 250"/>
              <a:gd name="T2" fmla="*/ 0 w 26"/>
              <a:gd name="T3" fmla="*/ 242 h 250"/>
              <a:gd name="T4" fmla="*/ 0 w 26"/>
              <a:gd name="T5" fmla="*/ 243 h 250"/>
              <a:gd name="T6" fmla="*/ 26 w 26"/>
              <a:gd name="T7" fmla="*/ 250 h 250"/>
              <a:gd name="T8" fmla="*/ 26 w 26"/>
              <a:gd name="T9" fmla="*/ 0 h 250"/>
              <a:gd name="T10" fmla="*/ 0 w 26"/>
              <a:gd name="T11" fmla="*/ 0 h 250"/>
            </a:gdLst>
            <a:ahLst/>
            <a:cxnLst>
              <a:cxn ang="0">
                <a:pos x="T0" y="T1"/>
              </a:cxn>
              <a:cxn ang="0">
                <a:pos x="T2" y="T3"/>
              </a:cxn>
              <a:cxn ang="0">
                <a:pos x="T4" y="T5"/>
              </a:cxn>
              <a:cxn ang="0">
                <a:pos x="T6" y="T7"/>
              </a:cxn>
              <a:cxn ang="0">
                <a:pos x="T8" y="T9"/>
              </a:cxn>
              <a:cxn ang="0">
                <a:pos x="T10" y="T11"/>
              </a:cxn>
            </a:cxnLst>
            <a:rect l="0" t="0" r="r" b="b"/>
            <a:pathLst>
              <a:path w="26" h="250">
                <a:moveTo>
                  <a:pt x="0" y="0"/>
                </a:moveTo>
                <a:cubicBezTo>
                  <a:pt x="0" y="242"/>
                  <a:pt x="0" y="242"/>
                  <a:pt x="0" y="242"/>
                </a:cubicBezTo>
                <a:cubicBezTo>
                  <a:pt x="0" y="243"/>
                  <a:pt x="0" y="243"/>
                  <a:pt x="0" y="243"/>
                </a:cubicBezTo>
                <a:cubicBezTo>
                  <a:pt x="9" y="244"/>
                  <a:pt x="15" y="250"/>
                  <a:pt x="26" y="250"/>
                </a:cubicBezTo>
                <a:cubicBezTo>
                  <a:pt x="26" y="0"/>
                  <a:pt x="26" y="0"/>
                  <a:pt x="26" y="0"/>
                </a:cubicBezTo>
                <a:lnTo>
                  <a:pt x="0" y="0"/>
                </a:lnTo>
                <a:close/>
              </a:path>
            </a:pathLst>
          </a:custGeom>
          <a:solidFill>
            <a:schemeClr val="bg2"/>
          </a:solidFill>
          <a:ln w="6350" cap="flat">
            <a:noFill/>
            <a:prstDash val="solid"/>
            <a:miter lim="800000"/>
            <a:headEnd/>
            <a:tailEnd/>
          </a:ln>
        </p:spPr>
        <p:txBody>
          <a:bodyPr vert="horz" wrap="square" lIns="84406" tIns="42203" rIns="84406" bIns="42203" numCol="1" anchor="t" anchorCtr="0" compatLnSpc="1">
            <a:prstTxWarp prst="textNoShape">
              <a:avLst/>
            </a:prstTxWarp>
          </a:bodyPr>
          <a:lstStyle/>
          <a:p>
            <a:endParaRPr lang="en-US" sz="3231"/>
          </a:p>
        </p:txBody>
      </p:sp>
      <p:sp>
        <p:nvSpPr>
          <p:cNvPr id="7" name="Freeform 7">
            <a:extLst>
              <a:ext uri="{FF2B5EF4-FFF2-40B4-BE49-F238E27FC236}">
                <a16:creationId xmlns:a16="http://schemas.microsoft.com/office/drawing/2014/main" id="{1416BF6B-981A-A249-9B6D-176DB5CA643A}"/>
              </a:ext>
            </a:extLst>
          </p:cNvPr>
          <p:cNvSpPr>
            <a:spLocks/>
          </p:cNvSpPr>
          <p:nvPr/>
        </p:nvSpPr>
        <p:spPr bwMode="auto">
          <a:xfrm>
            <a:off x="6415593" y="3544052"/>
            <a:ext cx="201762" cy="1932763"/>
          </a:xfrm>
          <a:custGeom>
            <a:avLst/>
            <a:gdLst>
              <a:gd name="T0" fmla="*/ 0 w 26"/>
              <a:gd name="T1" fmla="*/ 0 h 250"/>
              <a:gd name="T2" fmla="*/ 0 w 26"/>
              <a:gd name="T3" fmla="*/ 250 h 250"/>
              <a:gd name="T4" fmla="*/ 26 w 26"/>
              <a:gd name="T5" fmla="*/ 243 h 250"/>
              <a:gd name="T6" fmla="*/ 26 w 26"/>
              <a:gd name="T7" fmla="*/ 242 h 250"/>
              <a:gd name="T8" fmla="*/ 26 w 26"/>
              <a:gd name="T9" fmla="*/ 0 h 250"/>
              <a:gd name="T10" fmla="*/ 0 w 26"/>
              <a:gd name="T11" fmla="*/ 0 h 250"/>
            </a:gdLst>
            <a:ahLst/>
            <a:cxnLst>
              <a:cxn ang="0">
                <a:pos x="T0" y="T1"/>
              </a:cxn>
              <a:cxn ang="0">
                <a:pos x="T2" y="T3"/>
              </a:cxn>
              <a:cxn ang="0">
                <a:pos x="T4" y="T5"/>
              </a:cxn>
              <a:cxn ang="0">
                <a:pos x="T6" y="T7"/>
              </a:cxn>
              <a:cxn ang="0">
                <a:pos x="T8" y="T9"/>
              </a:cxn>
              <a:cxn ang="0">
                <a:pos x="T10" y="T11"/>
              </a:cxn>
            </a:cxnLst>
            <a:rect l="0" t="0" r="r" b="b"/>
            <a:pathLst>
              <a:path w="26" h="250">
                <a:moveTo>
                  <a:pt x="0" y="0"/>
                </a:moveTo>
                <a:cubicBezTo>
                  <a:pt x="0" y="250"/>
                  <a:pt x="0" y="250"/>
                  <a:pt x="0" y="250"/>
                </a:cubicBezTo>
                <a:cubicBezTo>
                  <a:pt x="12" y="250"/>
                  <a:pt x="15" y="243"/>
                  <a:pt x="26" y="243"/>
                </a:cubicBezTo>
                <a:cubicBezTo>
                  <a:pt x="26" y="242"/>
                  <a:pt x="26" y="242"/>
                  <a:pt x="26" y="242"/>
                </a:cubicBezTo>
                <a:cubicBezTo>
                  <a:pt x="26" y="0"/>
                  <a:pt x="26" y="0"/>
                  <a:pt x="26" y="0"/>
                </a:cubicBezTo>
                <a:lnTo>
                  <a:pt x="0" y="0"/>
                </a:lnTo>
                <a:close/>
              </a:path>
            </a:pathLst>
          </a:custGeom>
          <a:solidFill>
            <a:schemeClr val="tx2"/>
          </a:solidFill>
          <a:ln w="6350" cap="flat">
            <a:noFill/>
            <a:prstDash val="solid"/>
            <a:miter lim="800000"/>
            <a:headEnd/>
            <a:tailEnd/>
          </a:ln>
        </p:spPr>
        <p:txBody>
          <a:bodyPr vert="horz" wrap="square" lIns="84406" tIns="42203" rIns="84406" bIns="42203" numCol="1" anchor="t" anchorCtr="0" compatLnSpc="1">
            <a:prstTxWarp prst="textNoShape">
              <a:avLst/>
            </a:prstTxWarp>
          </a:bodyPr>
          <a:lstStyle/>
          <a:p>
            <a:endParaRPr lang="en-US" sz="3231"/>
          </a:p>
        </p:txBody>
      </p:sp>
      <p:sp>
        <p:nvSpPr>
          <p:cNvPr id="8" name="Freeform 11">
            <a:extLst>
              <a:ext uri="{FF2B5EF4-FFF2-40B4-BE49-F238E27FC236}">
                <a16:creationId xmlns:a16="http://schemas.microsoft.com/office/drawing/2014/main" id="{AFB53F7C-F96B-E744-A142-ED4D5BA735D0}"/>
              </a:ext>
            </a:extLst>
          </p:cNvPr>
          <p:cNvSpPr>
            <a:spLocks/>
          </p:cNvSpPr>
          <p:nvPr/>
        </p:nvSpPr>
        <p:spPr bwMode="auto">
          <a:xfrm>
            <a:off x="5731114" y="5414590"/>
            <a:ext cx="886242" cy="673167"/>
          </a:xfrm>
          <a:custGeom>
            <a:avLst/>
            <a:gdLst>
              <a:gd name="T0" fmla="*/ 114 w 114"/>
              <a:gd name="T1" fmla="*/ 1 h 87"/>
              <a:gd name="T2" fmla="*/ 88 w 114"/>
              <a:gd name="T3" fmla="*/ 8 h 87"/>
              <a:gd name="T4" fmla="*/ 55 w 114"/>
              <a:gd name="T5" fmla="*/ 0 h 87"/>
              <a:gd name="T6" fmla="*/ 26 w 114"/>
              <a:gd name="T7" fmla="*/ 8 h 87"/>
              <a:gd name="T8" fmla="*/ 0 w 114"/>
              <a:gd name="T9" fmla="*/ 1 h 87"/>
              <a:gd name="T10" fmla="*/ 53 w 114"/>
              <a:gd name="T11" fmla="*/ 83 h 87"/>
              <a:gd name="T12" fmla="*/ 61 w 114"/>
              <a:gd name="T13" fmla="*/ 83 h 87"/>
              <a:gd name="T14" fmla="*/ 114 w 114"/>
              <a:gd name="T15" fmla="*/ 1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87">
                <a:moveTo>
                  <a:pt x="114" y="1"/>
                </a:moveTo>
                <a:cubicBezTo>
                  <a:pt x="103" y="1"/>
                  <a:pt x="100" y="8"/>
                  <a:pt x="88" y="8"/>
                </a:cubicBezTo>
                <a:cubicBezTo>
                  <a:pt x="74" y="8"/>
                  <a:pt x="67" y="0"/>
                  <a:pt x="55" y="0"/>
                </a:cubicBezTo>
                <a:cubicBezTo>
                  <a:pt x="43" y="0"/>
                  <a:pt x="39" y="8"/>
                  <a:pt x="26" y="8"/>
                </a:cubicBezTo>
                <a:cubicBezTo>
                  <a:pt x="15" y="8"/>
                  <a:pt x="9" y="2"/>
                  <a:pt x="0" y="1"/>
                </a:cubicBezTo>
                <a:cubicBezTo>
                  <a:pt x="53" y="83"/>
                  <a:pt x="53" y="83"/>
                  <a:pt x="53" y="83"/>
                </a:cubicBezTo>
                <a:cubicBezTo>
                  <a:pt x="55" y="87"/>
                  <a:pt x="59" y="87"/>
                  <a:pt x="61" y="83"/>
                </a:cubicBezTo>
                <a:lnTo>
                  <a:pt x="114" y="1"/>
                </a:lnTo>
                <a:close/>
              </a:path>
            </a:pathLst>
          </a:custGeom>
          <a:solidFill>
            <a:srgbClr val="DCC9A4"/>
          </a:solidFill>
          <a:ln w="6350" cap="flat">
            <a:noFill/>
            <a:prstDash val="solid"/>
            <a:miter lim="800000"/>
            <a:headEnd/>
            <a:tailEnd/>
          </a:ln>
        </p:spPr>
        <p:txBody>
          <a:bodyPr vert="horz" wrap="square" lIns="84406" tIns="42203" rIns="84406" bIns="42203" numCol="1" anchor="t" anchorCtr="0" compatLnSpc="1">
            <a:prstTxWarp prst="textNoShape">
              <a:avLst/>
            </a:prstTxWarp>
          </a:bodyPr>
          <a:lstStyle/>
          <a:p>
            <a:endParaRPr lang="en-US" sz="3231"/>
          </a:p>
        </p:txBody>
      </p:sp>
      <p:sp>
        <p:nvSpPr>
          <p:cNvPr id="9" name="Freeform 12">
            <a:extLst>
              <a:ext uri="{FF2B5EF4-FFF2-40B4-BE49-F238E27FC236}">
                <a16:creationId xmlns:a16="http://schemas.microsoft.com/office/drawing/2014/main" id="{F1F79EE6-737D-384F-BFF7-DF43998F3B50}"/>
              </a:ext>
            </a:extLst>
          </p:cNvPr>
          <p:cNvSpPr>
            <a:spLocks/>
          </p:cNvSpPr>
          <p:nvPr/>
        </p:nvSpPr>
        <p:spPr bwMode="auto">
          <a:xfrm>
            <a:off x="6064868" y="5940678"/>
            <a:ext cx="201762" cy="147078"/>
          </a:xfrm>
          <a:custGeom>
            <a:avLst/>
            <a:gdLst>
              <a:gd name="T0" fmla="*/ 0 w 26"/>
              <a:gd name="T1" fmla="*/ 0 h 19"/>
              <a:gd name="T2" fmla="*/ 10 w 26"/>
              <a:gd name="T3" fmla="*/ 15 h 19"/>
              <a:gd name="T4" fmla="*/ 18 w 26"/>
              <a:gd name="T5" fmla="*/ 15 h 19"/>
              <a:gd name="T6" fmla="*/ 26 w 26"/>
              <a:gd name="T7" fmla="*/ 4 h 19"/>
              <a:gd name="T8" fmla="*/ 3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cubicBezTo>
                  <a:pt x="10" y="15"/>
                  <a:pt x="10" y="15"/>
                  <a:pt x="10" y="15"/>
                </a:cubicBezTo>
                <a:cubicBezTo>
                  <a:pt x="12" y="19"/>
                  <a:pt x="16" y="19"/>
                  <a:pt x="18" y="15"/>
                </a:cubicBezTo>
                <a:cubicBezTo>
                  <a:pt x="26" y="4"/>
                  <a:pt x="26" y="4"/>
                  <a:pt x="26" y="4"/>
                </a:cubicBezTo>
                <a:cubicBezTo>
                  <a:pt x="17" y="3"/>
                  <a:pt x="11" y="0"/>
                  <a:pt x="3" y="0"/>
                </a:cubicBezTo>
                <a:cubicBezTo>
                  <a:pt x="2" y="0"/>
                  <a:pt x="1" y="0"/>
                  <a:pt x="0" y="0"/>
                </a:cubicBezTo>
                <a:close/>
              </a:path>
            </a:pathLst>
          </a:custGeom>
          <a:solidFill>
            <a:schemeClr val="tx1"/>
          </a:solidFill>
          <a:ln w="6350" cap="flat">
            <a:noFill/>
            <a:prstDash val="solid"/>
            <a:miter lim="800000"/>
            <a:headEnd/>
            <a:tailEnd/>
          </a:ln>
        </p:spPr>
        <p:txBody>
          <a:bodyPr vert="horz" wrap="square" lIns="84406" tIns="42203" rIns="84406" bIns="42203" numCol="1" anchor="t" anchorCtr="0" compatLnSpc="1">
            <a:prstTxWarp prst="textNoShape">
              <a:avLst/>
            </a:prstTxWarp>
          </a:bodyPr>
          <a:lstStyle/>
          <a:p>
            <a:endParaRPr lang="en-US" sz="3231"/>
          </a:p>
        </p:txBody>
      </p:sp>
      <p:sp>
        <p:nvSpPr>
          <p:cNvPr id="10" name="Freeform 9">
            <a:extLst>
              <a:ext uri="{FF2B5EF4-FFF2-40B4-BE49-F238E27FC236}">
                <a16:creationId xmlns:a16="http://schemas.microsoft.com/office/drawing/2014/main" id="{A7A25C3E-CEF3-F94E-8914-60EFF653AC9E}"/>
              </a:ext>
            </a:extLst>
          </p:cNvPr>
          <p:cNvSpPr>
            <a:spLocks/>
          </p:cNvSpPr>
          <p:nvPr/>
        </p:nvSpPr>
        <p:spPr bwMode="auto">
          <a:xfrm>
            <a:off x="1983236" y="2336371"/>
            <a:ext cx="3949640" cy="1573777"/>
          </a:xfrm>
          <a:custGeom>
            <a:avLst/>
            <a:gdLst>
              <a:gd name="T0" fmla="*/ 0 w 26"/>
              <a:gd name="T1" fmla="*/ 0 h 84"/>
              <a:gd name="T2" fmla="*/ 0 w 26"/>
              <a:gd name="T3" fmla="*/ 84 h 84"/>
              <a:gd name="T4" fmla="*/ 0 w 26"/>
              <a:gd name="T5" fmla="*/ 84 h 84"/>
              <a:gd name="T6" fmla="*/ 26 w 26"/>
              <a:gd name="T7" fmla="*/ 84 h 84"/>
              <a:gd name="T8" fmla="*/ 26 w 26"/>
              <a:gd name="T9" fmla="*/ 0 h 84"/>
              <a:gd name="T10" fmla="*/ 0 w 26"/>
              <a:gd name="T11" fmla="*/ 0 h 84"/>
            </a:gdLst>
            <a:ahLst/>
            <a:cxnLst>
              <a:cxn ang="0">
                <a:pos x="T0" y="T1"/>
              </a:cxn>
              <a:cxn ang="0">
                <a:pos x="T2" y="T3"/>
              </a:cxn>
              <a:cxn ang="0">
                <a:pos x="T4" y="T5"/>
              </a:cxn>
              <a:cxn ang="0">
                <a:pos x="T6" y="T7"/>
              </a:cxn>
              <a:cxn ang="0">
                <a:pos x="T8" y="T9"/>
              </a:cxn>
              <a:cxn ang="0">
                <a:pos x="T10" y="T11"/>
              </a:cxn>
            </a:cxnLst>
            <a:rect l="0" t="0" r="r" b="b"/>
            <a:pathLst>
              <a:path w="26" h="84">
                <a:moveTo>
                  <a:pt x="0" y="0"/>
                </a:moveTo>
                <a:cubicBezTo>
                  <a:pt x="0" y="84"/>
                  <a:pt x="0" y="84"/>
                  <a:pt x="0" y="84"/>
                </a:cubicBezTo>
                <a:cubicBezTo>
                  <a:pt x="0" y="84"/>
                  <a:pt x="0" y="84"/>
                  <a:pt x="0" y="84"/>
                </a:cubicBezTo>
                <a:cubicBezTo>
                  <a:pt x="0" y="84"/>
                  <a:pt x="26" y="84"/>
                  <a:pt x="26" y="84"/>
                </a:cubicBezTo>
                <a:cubicBezTo>
                  <a:pt x="26" y="0"/>
                  <a:pt x="26" y="0"/>
                  <a:pt x="26" y="0"/>
                </a:cubicBezTo>
                <a:lnTo>
                  <a:pt x="0" y="0"/>
                </a:lnTo>
                <a:close/>
              </a:path>
            </a:pathLst>
          </a:custGeom>
          <a:solidFill>
            <a:schemeClr val="bg2"/>
          </a:solidFill>
          <a:ln w="6350" cap="flat">
            <a:noFill/>
            <a:prstDash val="solid"/>
            <a:miter lim="800000"/>
            <a:headEnd/>
            <a:tailEnd/>
          </a:ln>
        </p:spPr>
        <p:txBody>
          <a:bodyPr vert="horz" wrap="square" lIns="84406" tIns="42203" rIns="84406" bIns="42203" numCol="1" anchor="t" anchorCtr="0" compatLnSpc="1">
            <a:prstTxWarp prst="textNoShape">
              <a:avLst/>
            </a:prstTxWarp>
          </a:bodyPr>
          <a:lstStyle/>
          <a:p>
            <a:endParaRPr lang="en-US" sz="3231"/>
          </a:p>
        </p:txBody>
      </p:sp>
      <p:sp>
        <p:nvSpPr>
          <p:cNvPr id="11" name="Freeform 10">
            <a:extLst>
              <a:ext uri="{FF2B5EF4-FFF2-40B4-BE49-F238E27FC236}">
                <a16:creationId xmlns:a16="http://schemas.microsoft.com/office/drawing/2014/main" id="{BA7A7E89-50F3-B14B-A994-3858CE816169}"/>
              </a:ext>
            </a:extLst>
          </p:cNvPr>
          <p:cNvSpPr>
            <a:spLocks/>
          </p:cNvSpPr>
          <p:nvPr/>
        </p:nvSpPr>
        <p:spPr bwMode="auto">
          <a:xfrm>
            <a:off x="6415595" y="3017707"/>
            <a:ext cx="3953469" cy="1444970"/>
          </a:xfrm>
          <a:custGeom>
            <a:avLst/>
            <a:gdLst>
              <a:gd name="T0" fmla="*/ 0 w 26"/>
              <a:gd name="T1" fmla="*/ 0 h 84"/>
              <a:gd name="T2" fmla="*/ 0 w 26"/>
              <a:gd name="T3" fmla="*/ 84 h 84"/>
              <a:gd name="T4" fmla="*/ 26 w 26"/>
              <a:gd name="T5" fmla="*/ 84 h 84"/>
              <a:gd name="T6" fmla="*/ 26 w 26"/>
              <a:gd name="T7" fmla="*/ 84 h 84"/>
              <a:gd name="T8" fmla="*/ 26 w 26"/>
              <a:gd name="T9" fmla="*/ 0 h 84"/>
              <a:gd name="T10" fmla="*/ 0 w 26"/>
              <a:gd name="T11" fmla="*/ 0 h 84"/>
            </a:gdLst>
            <a:ahLst/>
            <a:cxnLst>
              <a:cxn ang="0">
                <a:pos x="T0" y="T1"/>
              </a:cxn>
              <a:cxn ang="0">
                <a:pos x="T2" y="T3"/>
              </a:cxn>
              <a:cxn ang="0">
                <a:pos x="T4" y="T5"/>
              </a:cxn>
              <a:cxn ang="0">
                <a:pos x="T6" y="T7"/>
              </a:cxn>
              <a:cxn ang="0">
                <a:pos x="T8" y="T9"/>
              </a:cxn>
              <a:cxn ang="0">
                <a:pos x="T10" y="T11"/>
              </a:cxn>
            </a:cxnLst>
            <a:rect l="0" t="0" r="r" b="b"/>
            <a:pathLst>
              <a:path w="26" h="84">
                <a:moveTo>
                  <a:pt x="0" y="0"/>
                </a:moveTo>
                <a:cubicBezTo>
                  <a:pt x="0" y="84"/>
                  <a:pt x="0" y="84"/>
                  <a:pt x="0" y="84"/>
                </a:cubicBezTo>
                <a:cubicBezTo>
                  <a:pt x="0" y="84"/>
                  <a:pt x="15" y="84"/>
                  <a:pt x="26" y="84"/>
                </a:cubicBezTo>
                <a:cubicBezTo>
                  <a:pt x="26" y="84"/>
                  <a:pt x="26" y="84"/>
                  <a:pt x="26" y="84"/>
                </a:cubicBezTo>
                <a:cubicBezTo>
                  <a:pt x="26" y="0"/>
                  <a:pt x="26" y="0"/>
                  <a:pt x="26" y="0"/>
                </a:cubicBezTo>
                <a:lnTo>
                  <a:pt x="0" y="0"/>
                </a:lnTo>
                <a:close/>
              </a:path>
            </a:pathLst>
          </a:custGeom>
          <a:solidFill>
            <a:schemeClr val="tx2"/>
          </a:solidFill>
          <a:ln w="6350" cap="flat">
            <a:noFill/>
            <a:prstDash val="solid"/>
            <a:miter lim="800000"/>
            <a:headEnd/>
            <a:tailEnd/>
          </a:ln>
        </p:spPr>
        <p:txBody>
          <a:bodyPr vert="horz" wrap="square" lIns="84406" tIns="42203" rIns="84406" bIns="42203" numCol="1" anchor="t" anchorCtr="0" compatLnSpc="1">
            <a:prstTxWarp prst="textNoShape">
              <a:avLst/>
            </a:prstTxWarp>
          </a:bodyPr>
          <a:lstStyle/>
          <a:p>
            <a:endParaRPr lang="en-US" sz="3231"/>
          </a:p>
        </p:txBody>
      </p:sp>
      <p:sp>
        <p:nvSpPr>
          <p:cNvPr id="12" name="Freeform 10">
            <a:extLst>
              <a:ext uri="{FF2B5EF4-FFF2-40B4-BE49-F238E27FC236}">
                <a16:creationId xmlns:a16="http://schemas.microsoft.com/office/drawing/2014/main" id="{F3CFE7B5-7AE0-DE45-8B89-7019B1750DA3}"/>
              </a:ext>
            </a:extLst>
          </p:cNvPr>
          <p:cNvSpPr>
            <a:spLocks/>
          </p:cNvSpPr>
          <p:nvPr/>
        </p:nvSpPr>
        <p:spPr bwMode="auto">
          <a:xfrm>
            <a:off x="5932876" y="1609357"/>
            <a:ext cx="3919173" cy="1411255"/>
          </a:xfrm>
          <a:custGeom>
            <a:avLst/>
            <a:gdLst>
              <a:gd name="T0" fmla="*/ 0 w 26"/>
              <a:gd name="T1" fmla="*/ 0 h 84"/>
              <a:gd name="T2" fmla="*/ 0 w 26"/>
              <a:gd name="T3" fmla="*/ 84 h 84"/>
              <a:gd name="T4" fmla="*/ 26 w 26"/>
              <a:gd name="T5" fmla="*/ 84 h 84"/>
              <a:gd name="T6" fmla="*/ 26 w 26"/>
              <a:gd name="T7" fmla="*/ 84 h 84"/>
              <a:gd name="T8" fmla="*/ 26 w 26"/>
              <a:gd name="T9" fmla="*/ 0 h 84"/>
              <a:gd name="T10" fmla="*/ 0 w 26"/>
              <a:gd name="T11" fmla="*/ 0 h 84"/>
            </a:gdLst>
            <a:ahLst/>
            <a:cxnLst>
              <a:cxn ang="0">
                <a:pos x="T0" y="T1"/>
              </a:cxn>
              <a:cxn ang="0">
                <a:pos x="T2" y="T3"/>
              </a:cxn>
              <a:cxn ang="0">
                <a:pos x="T4" y="T5"/>
              </a:cxn>
              <a:cxn ang="0">
                <a:pos x="T6" y="T7"/>
              </a:cxn>
              <a:cxn ang="0">
                <a:pos x="T8" y="T9"/>
              </a:cxn>
              <a:cxn ang="0">
                <a:pos x="T10" y="T11"/>
              </a:cxn>
            </a:cxnLst>
            <a:rect l="0" t="0" r="r" b="b"/>
            <a:pathLst>
              <a:path w="26" h="84">
                <a:moveTo>
                  <a:pt x="0" y="0"/>
                </a:moveTo>
                <a:cubicBezTo>
                  <a:pt x="0" y="84"/>
                  <a:pt x="0" y="84"/>
                  <a:pt x="0" y="84"/>
                </a:cubicBezTo>
                <a:cubicBezTo>
                  <a:pt x="0" y="84"/>
                  <a:pt x="15" y="84"/>
                  <a:pt x="26" y="84"/>
                </a:cubicBezTo>
                <a:cubicBezTo>
                  <a:pt x="26" y="84"/>
                  <a:pt x="26" y="84"/>
                  <a:pt x="26" y="84"/>
                </a:cubicBezTo>
                <a:cubicBezTo>
                  <a:pt x="26" y="0"/>
                  <a:pt x="26" y="0"/>
                  <a:pt x="26" y="0"/>
                </a:cubicBezTo>
                <a:lnTo>
                  <a:pt x="0" y="0"/>
                </a:lnTo>
                <a:close/>
              </a:path>
            </a:pathLst>
          </a:custGeom>
          <a:solidFill>
            <a:schemeClr val="tx1"/>
          </a:solidFill>
          <a:ln w="6350" cap="flat">
            <a:noFill/>
            <a:prstDash val="solid"/>
            <a:miter lim="800000"/>
            <a:headEnd/>
            <a:tailEnd/>
          </a:ln>
        </p:spPr>
        <p:txBody>
          <a:bodyPr vert="horz" wrap="square" lIns="84406" tIns="42203" rIns="84406" bIns="42203" numCol="1" anchor="t" anchorCtr="0" compatLnSpc="1">
            <a:prstTxWarp prst="textNoShape">
              <a:avLst/>
            </a:prstTxWarp>
          </a:bodyPr>
          <a:lstStyle/>
          <a:p>
            <a:endParaRPr lang="en-US" sz="3231"/>
          </a:p>
        </p:txBody>
      </p:sp>
      <p:sp>
        <p:nvSpPr>
          <p:cNvPr id="13" name="Rectangle 12">
            <a:extLst>
              <a:ext uri="{FF2B5EF4-FFF2-40B4-BE49-F238E27FC236}">
                <a16:creationId xmlns:a16="http://schemas.microsoft.com/office/drawing/2014/main" id="{08223339-7FA2-1249-B34D-539E643ECD1E}"/>
              </a:ext>
            </a:extLst>
          </p:cNvPr>
          <p:cNvSpPr/>
          <p:nvPr/>
        </p:nvSpPr>
        <p:spPr>
          <a:xfrm>
            <a:off x="7063861" y="1835658"/>
            <a:ext cx="2207379" cy="114221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r>
              <a:rPr lang="en-US" sz="2400" dirty="0">
                <a:latin typeface="Calibri" panose="020F0502020204030204" pitchFamily="34" charset="0"/>
                <a:cs typeface="Calibri" panose="020F0502020204030204" pitchFamily="34" charset="0"/>
              </a:rPr>
              <a:t>Measure Performance at Every Step</a:t>
            </a:r>
            <a:endParaRPr lang="en-US" sz="1400" dirty="0">
              <a:latin typeface="Calibri" panose="020F0502020204030204" pitchFamily="34" charset="0"/>
              <a:cs typeface="Calibri" panose="020F0502020204030204" pitchFamily="34" charset="0"/>
            </a:endParaRPr>
          </a:p>
        </p:txBody>
      </p:sp>
      <p:sp>
        <p:nvSpPr>
          <p:cNvPr id="14" name="Rectangle 13">
            <a:extLst>
              <a:ext uri="{FF2B5EF4-FFF2-40B4-BE49-F238E27FC236}">
                <a16:creationId xmlns:a16="http://schemas.microsoft.com/office/drawing/2014/main" id="{4E170A11-130F-EF42-8042-5FA7E2F5C837}"/>
              </a:ext>
            </a:extLst>
          </p:cNvPr>
          <p:cNvSpPr/>
          <p:nvPr/>
        </p:nvSpPr>
        <p:spPr>
          <a:xfrm>
            <a:off x="6122081" y="1835657"/>
            <a:ext cx="824324" cy="8309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nchorCtr="0">
            <a:spAutoFit/>
          </a:bodyPr>
          <a:lstStyle/>
          <a:p>
            <a:r>
              <a:rPr lang="en-US" sz="5400" b="1">
                <a:latin typeface="Calibri" panose="020F0502020204030204" pitchFamily="34" charset="0"/>
                <a:cs typeface="Calibri" panose="020F0502020204030204" pitchFamily="34" charset="0"/>
              </a:rPr>
              <a:t>02</a:t>
            </a:r>
          </a:p>
        </p:txBody>
      </p:sp>
      <p:sp>
        <p:nvSpPr>
          <p:cNvPr id="15" name="Rectangle 14">
            <a:extLst>
              <a:ext uri="{FF2B5EF4-FFF2-40B4-BE49-F238E27FC236}">
                <a16:creationId xmlns:a16="http://schemas.microsoft.com/office/drawing/2014/main" id="{1C622E75-F9E5-F946-90CA-D187C779F17F}"/>
              </a:ext>
            </a:extLst>
          </p:cNvPr>
          <p:cNvSpPr/>
          <p:nvPr/>
        </p:nvSpPr>
        <p:spPr>
          <a:xfrm>
            <a:off x="4937189" y="2574315"/>
            <a:ext cx="852156" cy="8309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nchorCtr="0">
            <a:spAutoFit/>
          </a:bodyPr>
          <a:lstStyle/>
          <a:p>
            <a:pPr algn="r"/>
            <a:r>
              <a:rPr lang="en-US" sz="5400" b="1">
                <a:latin typeface="Calibri" panose="020F0502020204030204" pitchFamily="34" charset="0"/>
                <a:cs typeface="Calibri" panose="020F0502020204030204" pitchFamily="34" charset="0"/>
              </a:rPr>
              <a:t>01</a:t>
            </a:r>
          </a:p>
        </p:txBody>
      </p:sp>
      <p:sp>
        <p:nvSpPr>
          <p:cNvPr id="16" name="Rectangle 15">
            <a:extLst>
              <a:ext uri="{FF2B5EF4-FFF2-40B4-BE49-F238E27FC236}">
                <a16:creationId xmlns:a16="http://schemas.microsoft.com/office/drawing/2014/main" id="{9D654C19-34EC-A343-9B27-048A2112E2EC}"/>
              </a:ext>
            </a:extLst>
          </p:cNvPr>
          <p:cNvSpPr/>
          <p:nvPr/>
        </p:nvSpPr>
        <p:spPr>
          <a:xfrm>
            <a:off x="6609280" y="3238012"/>
            <a:ext cx="710110" cy="8309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nchorCtr="0">
            <a:spAutoFit/>
          </a:bodyPr>
          <a:lstStyle/>
          <a:p>
            <a:r>
              <a:rPr lang="en-US" sz="5400" b="1" dirty="0">
                <a:solidFill>
                  <a:schemeClr val="accent2"/>
                </a:solidFill>
                <a:latin typeface="Calibri" panose="020F0502020204030204" pitchFamily="34" charset="0"/>
                <a:cs typeface="Calibri" panose="020F0502020204030204" pitchFamily="34" charset="0"/>
              </a:rPr>
              <a:t>03</a:t>
            </a:r>
          </a:p>
        </p:txBody>
      </p:sp>
      <p:sp>
        <p:nvSpPr>
          <p:cNvPr id="17" name="Rectangle 16">
            <a:extLst>
              <a:ext uri="{FF2B5EF4-FFF2-40B4-BE49-F238E27FC236}">
                <a16:creationId xmlns:a16="http://schemas.microsoft.com/office/drawing/2014/main" id="{00D45E19-7CA1-0943-BC7D-7B211F4ED875}"/>
              </a:ext>
            </a:extLst>
          </p:cNvPr>
          <p:cNvSpPr/>
          <p:nvPr/>
        </p:nvSpPr>
        <p:spPr>
          <a:xfrm>
            <a:off x="7527212" y="3238012"/>
            <a:ext cx="2207379" cy="10860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r>
              <a:rPr lang="en-US" sz="2400" dirty="0">
                <a:solidFill>
                  <a:schemeClr val="accent2"/>
                </a:solidFill>
                <a:latin typeface="Calibri" panose="020F0502020204030204" pitchFamily="34" charset="0"/>
                <a:cs typeface="Calibri" panose="020F0502020204030204" pitchFamily="34" charset="0"/>
              </a:rPr>
              <a:t>Have a Plan to Fix It When It Goes Bump</a:t>
            </a:r>
            <a:endParaRPr lang="en-US" sz="1400" dirty="0">
              <a:solidFill>
                <a:schemeClr val="accent2"/>
              </a:solidFill>
              <a:latin typeface="Calibri" panose="020F050202020403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id="{7F2C8BD6-4618-9046-8915-5402A5F9210E}"/>
              </a:ext>
            </a:extLst>
          </p:cNvPr>
          <p:cNvSpPr/>
          <p:nvPr/>
        </p:nvSpPr>
        <p:spPr>
          <a:xfrm>
            <a:off x="2370372" y="2574315"/>
            <a:ext cx="2673856" cy="11245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r"/>
            <a:r>
              <a:rPr lang="en-US" sz="2400" dirty="0">
                <a:latin typeface="Calibri" panose="020F0502020204030204" pitchFamily="34" charset="0"/>
                <a:cs typeface="Calibri" panose="020F0502020204030204" pitchFamily="34" charset="0"/>
              </a:rPr>
              <a:t>Understand How EF Core Works (and Doesn’t Work)</a:t>
            </a:r>
          </a:p>
        </p:txBody>
      </p:sp>
      <p:sp>
        <p:nvSpPr>
          <p:cNvPr id="19" name="Freeform 18">
            <a:extLst>
              <a:ext uri="{FF2B5EF4-FFF2-40B4-BE49-F238E27FC236}">
                <a16:creationId xmlns:a16="http://schemas.microsoft.com/office/drawing/2014/main" id="{FD016F12-7846-3B47-A6BA-5E7F68196188}"/>
              </a:ext>
            </a:extLst>
          </p:cNvPr>
          <p:cNvSpPr>
            <a:spLocks noChangeAspect="1"/>
          </p:cNvSpPr>
          <p:nvPr/>
        </p:nvSpPr>
        <p:spPr>
          <a:xfrm>
            <a:off x="2081662" y="3289084"/>
            <a:ext cx="523488" cy="527538"/>
          </a:xfrm>
          <a:custGeom>
            <a:avLst/>
            <a:gdLst>
              <a:gd name="connsiteX0" fmla="*/ 426193 w 852387"/>
              <a:gd name="connsiteY0" fmla="*/ 276445 h 858981"/>
              <a:gd name="connsiteX1" fmla="*/ 273147 w 852387"/>
              <a:gd name="connsiteY1" fmla="*/ 429491 h 858981"/>
              <a:gd name="connsiteX2" fmla="*/ 426194 w 852387"/>
              <a:gd name="connsiteY2" fmla="*/ 582537 h 858981"/>
              <a:gd name="connsiteX3" fmla="*/ 579239 w 852387"/>
              <a:gd name="connsiteY3" fmla="*/ 429491 h 858981"/>
              <a:gd name="connsiteX4" fmla="*/ 426193 w 852387"/>
              <a:gd name="connsiteY4" fmla="*/ 276445 h 858981"/>
              <a:gd name="connsiteX5" fmla="*/ 534682 w 852387"/>
              <a:gd name="connsiteY5" fmla="*/ 0 h 858981"/>
              <a:gd name="connsiteX6" fmla="*/ 546466 w 852387"/>
              <a:gd name="connsiteY6" fmla="*/ 129632 h 858981"/>
              <a:gd name="connsiteX7" fmla="*/ 552126 w 852387"/>
              <a:gd name="connsiteY7" fmla="*/ 131388 h 858981"/>
              <a:gd name="connsiteX8" fmla="*/ 607082 w 852387"/>
              <a:gd name="connsiteY8" fmla="*/ 161218 h 858981"/>
              <a:gd name="connsiteX9" fmla="*/ 624801 w 852387"/>
              <a:gd name="connsiteY9" fmla="*/ 175837 h 858981"/>
              <a:gd name="connsiteX10" fmla="*/ 743899 w 852387"/>
              <a:gd name="connsiteY10" fmla="*/ 120792 h 858981"/>
              <a:gd name="connsiteX11" fmla="*/ 852387 w 852387"/>
              <a:gd name="connsiteY11" fmla="*/ 308700 h 858981"/>
              <a:gd name="connsiteX12" fmla="*/ 745169 w 852387"/>
              <a:gd name="connsiteY12" fmla="*/ 384318 h 858981"/>
              <a:gd name="connsiteX13" fmla="*/ 749722 w 852387"/>
              <a:gd name="connsiteY13" fmla="*/ 429493 h 858981"/>
              <a:gd name="connsiteX14" fmla="*/ 745168 w 852387"/>
              <a:gd name="connsiteY14" fmla="*/ 474663 h 858981"/>
              <a:gd name="connsiteX15" fmla="*/ 852387 w 852387"/>
              <a:gd name="connsiteY15" fmla="*/ 550282 h 858981"/>
              <a:gd name="connsiteX16" fmla="*/ 743898 w 852387"/>
              <a:gd name="connsiteY16" fmla="*/ 738190 h 858981"/>
              <a:gd name="connsiteX17" fmla="*/ 624803 w 852387"/>
              <a:gd name="connsiteY17" fmla="*/ 683145 h 858981"/>
              <a:gd name="connsiteX18" fmla="*/ 607082 w 852387"/>
              <a:gd name="connsiteY18" fmla="*/ 697767 h 858981"/>
              <a:gd name="connsiteX19" fmla="*/ 552126 w 852387"/>
              <a:gd name="connsiteY19" fmla="*/ 727596 h 858981"/>
              <a:gd name="connsiteX20" fmla="*/ 546466 w 852387"/>
              <a:gd name="connsiteY20" fmla="*/ 729353 h 858981"/>
              <a:gd name="connsiteX21" fmla="*/ 534682 w 852387"/>
              <a:gd name="connsiteY21" fmla="*/ 858981 h 858981"/>
              <a:gd name="connsiteX22" fmla="*/ 317704 w 852387"/>
              <a:gd name="connsiteY22" fmla="*/ 858981 h 858981"/>
              <a:gd name="connsiteX23" fmla="*/ 305920 w 852387"/>
              <a:gd name="connsiteY23" fmla="*/ 729352 h 858981"/>
              <a:gd name="connsiteX24" fmla="*/ 300262 w 852387"/>
              <a:gd name="connsiteY24" fmla="*/ 727596 h 858981"/>
              <a:gd name="connsiteX25" fmla="*/ 245306 w 852387"/>
              <a:gd name="connsiteY25" fmla="*/ 697767 h 858981"/>
              <a:gd name="connsiteX26" fmla="*/ 227585 w 852387"/>
              <a:gd name="connsiteY26" fmla="*/ 683145 h 858981"/>
              <a:gd name="connsiteX27" fmla="*/ 108488 w 852387"/>
              <a:gd name="connsiteY27" fmla="*/ 738190 h 858981"/>
              <a:gd name="connsiteX28" fmla="*/ 0 w 852387"/>
              <a:gd name="connsiteY28" fmla="*/ 550282 h 858981"/>
              <a:gd name="connsiteX29" fmla="*/ 107219 w 852387"/>
              <a:gd name="connsiteY29" fmla="*/ 474664 h 858981"/>
              <a:gd name="connsiteX30" fmla="*/ 102666 w 852387"/>
              <a:gd name="connsiteY30" fmla="*/ 429493 h 858981"/>
              <a:gd name="connsiteX31" fmla="*/ 107220 w 852387"/>
              <a:gd name="connsiteY31" fmla="*/ 384319 h 858981"/>
              <a:gd name="connsiteX32" fmla="*/ 0 w 852387"/>
              <a:gd name="connsiteY32" fmla="*/ 308701 h 858981"/>
              <a:gd name="connsiteX33" fmla="*/ 108489 w 852387"/>
              <a:gd name="connsiteY33" fmla="*/ 120792 h 858981"/>
              <a:gd name="connsiteX34" fmla="*/ 227586 w 852387"/>
              <a:gd name="connsiteY34" fmla="*/ 175837 h 858981"/>
              <a:gd name="connsiteX35" fmla="*/ 245306 w 852387"/>
              <a:gd name="connsiteY35" fmla="*/ 161217 h 858981"/>
              <a:gd name="connsiteX36" fmla="*/ 300263 w 852387"/>
              <a:gd name="connsiteY36" fmla="*/ 131389 h 858981"/>
              <a:gd name="connsiteX37" fmla="*/ 305921 w 852387"/>
              <a:gd name="connsiteY37" fmla="*/ 129633 h 858981"/>
              <a:gd name="connsiteX38" fmla="*/ 317705 w 852387"/>
              <a:gd name="connsiteY38" fmla="*/ 1 h 858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52387" h="858981">
                <a:moveTo>
                  <a:pt x="426193" y="276445"/>
                </a:moveTo>
                <a:cubicBezTo>
                  <a:pt x="341668" y="276445"/>
                  <a:pt x="273146" y="344966"/>
                  <a:pt x="273147" y="429491"/>
                </a:cubicBezTo>
                <a:cubicBezTo>
                  <a:pt x="273147" y="514016"/>
                  <a:pt x="341668" y="582537"/>
                  <a:pt x="426194" y="582537"/>
                </a:cubicBezTo>
                <a:cubicBezTo>
                  <a:pt x="510718" y="582537"/>
                  <a:pt x="579239" y="514016"/>
                  <a:pt x="579239" y="429491"/>
                </a:cubicBezTo>
                <a:cubicBezTo>
                  <a:pt x="579239" y="344966"/>
                  <a:pt x="510718" y="276445"/>
                  <a:pt x="426193" y="276445"/>
                </a:cubicBezTo>
                <a:close/>
                <a:moveTo>
                  <a:pt x="534682" y="0"/>
                </a:moveTo>
                <a:lnTo>
                  <a:pt x="546466" y="129632"/>
                </a:lnTo>
                <a:lnTo>
                  <a:pt x="552126" y="131388"/>
                </a:lnTo>
                <a:cubicBezTo>
                  <a:pt x="571479" y="139575"/>
                  <a:pt x="589870" y="149590"/>
                  <a:pt x="607082" y="161218"/>
                </a:cubicBezTo>
                <a:lnTo>
                  <a:pt x="624801" y="175837"/>
                </a:lnTo>
                <a:lnTo>
                  <a:pt x="743899" y="120792"/>
                </a:lnTo>
                <a:lnTo>
                  <a:pt x="852387" y="308700"/>
                </a:lnTo>
                <a:lnTo>
                  <a:pt x="745169" y="384318"/>
                </a:lnTo>
                <a:lnTo>
                  <a:pt x="749722" y="429493"/>
                </a:lnTo>
                <a:lnTo>
                  <a:pt x="745168" y="474663"/>
                </a:lnTo>
                <a:lnTo>
                  <a:pt x="852387" y="550282"/>
                </a:lnTo>
                <a:lnTo>
                  <a:pt x="743898" y="738190"/>
                </a:lnTo>
                <a:lnTo>
                  <a:pt x="624803" y="683145"/>
                </a:lnTo>
                <a:lnTo>
                  <a:pt x="607082" y="697767"/>
                </a:lnTo>
                <a:cubicBezTo>
                  <a:pt x="589870" y="709395"/>
                  <a:pt x="571479" y="719410"/>
                  <a:pt x="552126" y="727596"/>
                </a:cubicBezTo>
                <a:lnTo>
                  <a:pt x="546466" y="729353"/>
                </a:lnTo>
                <a:lnTo>
                  <a:pt x="534682" y="858981"/>
                </a:lnTo>
                <a:lnTo>
                  <a:pt x="317704" y="858981"/>
                </a:lnTo>
                <a:lnTo>
                  <a:pt x="305920" y="729352"/>
                </a:lnTo>
                <a:lnTo>
                  <a:pt x="300262" y="727596"/>
                </a:lnTo>
                <a:cubicBezTo>
                  <a:pt x="280908" y="719410"/>
                  <a:pt x="262518" y="709395"/>
                  <a:pt x="245306" y="697767"/>
                </a:cubicBezTo>
                <a:lnTo>
                  <a:pt x="227585" y="683145"/>
                </a:lnTo>
                <a:lnTo>
                  <a:pt x="108488" y="738190"/>
                </a:lnTo>
                <a:lnTo>
                  <a:pt x="0" y="550282"/>
                </a:lnTo>
                <a:lnTo>
                  <a:pt x="107219" y="474664"/>
                </a:lnTo>
                <a:lnTo>
                  <a:pt x="102666" y="429493"/>
                </a:lnTo>
                <a:lnTo>
                  <a:pt x="107220" y="384319"/>
                </a:lnTo>
                <a:lnTo>
                  <a:pt x="0" y="308701"/>
                </a:lnTo>
                <a:lnTo>
                  <a:pt x="108489" y="120792"/>
                </a:lnTo>
                <a:lnTo>
                  <a:pt x="227586" y="175837"/>
                </a:lnTo>
                <a:lnTo>
                  <a:pt x="245306" y="161217"/>
                </a:lnTo>
                <a:cubicBezTo>
                  <a:pt x="262518" y="149590"/>
                  <a:pt x="280909" y="139575"/>
                  <a:pt x="300263" y="131389"/>
                </a:cubicBezTo>
                <a:lnTo>
                  <a:pt x="305921" y="129633"/>
                </a:lnTo>
                <a:lnTo>
                  <a:pt x="317705" y="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20" name="Freeform 19">
            <a:extLst>
              <a:ext uri="{FF2B5EF4-FFF2-40B4-BE49-F238E27FC236}">
                <a16:creationId xmlns:a16="http://schemas.microsoft.com/office/drawing/2014/main" id="{658D76B2-560A-974C-92D8-FF5656204B63}"/>
              </a:ext>
            </a:extLst>
          </p:cNvPr>
          <p:cNvSpPr/>
          <p:nvPr/>
        </p:nvSpPr>
        <p:spPr>
          <a:xfrm rot="16200000">
            <a:off x="9361570" y="2448159"/>
            <a:ext cx="581807" cy="164237"/>
          </a:xfrm>
          <a:custGeom>
            <a:avLst/>
            <a:gdLst>
              <a:gd name="connsiteX0" fmla="*/ 136427 w 3799241"/>
              <a:gd name="connsiteY0" fmla="*/ 0 h 1414085"/>
              <a:gd name="connsiteX1" fmla="*/ 218437 w 3799241"/>
              <a:gd name="connsiteY1" fmla="*/ 0 h 1414085"/>
              <a:gd name="connsiteX2" fmla="*/ 233887 w 3799241"/>
              <a:gd name="connsiteY2" fmla="*/ 3119 h 1414085"/>
              <a:gd name="connsiteX3" fmla="*/ 263457 w 3799241"/>
              <a:gd name="connsiteY3" fmla="*/ 148 h 1414085"/>
              <a:gd name="connsiteX4" fmla="*/ 355418 w 3799241"/>
              <a:gd name="connsiteY4" fmla="*/ 148 h 1414085"/>
              <a:gd name="connsiteX5" fmla="*/ 355418 w 3799241"/>
              <a:gd name="connsiteY5" fmla="*/ 633856 h 1414085"/>
              <a:gd name="connsiteX6" fmla="*/ 501726 w 3799241"/>
              <a:gd name="connsiteY6" fmla="*/ 633856 h 1414085"/>
              <a:gd name="connsiteX7" fmla="*/ 501726 w 3799241"/>
              <a:gd name="connsiteY7" fmla="*/ 148 h 1414085"/>
              <a:gd name="connsiteX8" fmla="*/ 681161 w 3799241"/>
              <a:gd name="connsiteY8" fmla="*/ 148 h 1414085"/>
              <a:gd name="connsiteX9" fmla="*/ 681161 w 3799241"/>
              <a:gd name="connsiteY9" fmla="*/ 314661 h 1414085"/>
              <a:gd name="connsiteX10" fmla="*/ 827469 w 3799241"/>
              <a:gd name="connsiteY10" fmla="*/ 314661 h 1414085"/>
              <a:gd name="connsiteX11" fmla="*/ 827469 w 3799241"/>
              <a:gd name="connsiteY11" fmla="*/ 148 h 1414085"/>
              <a:gd name="connsiteX12" fmla="*/ 1006904 w 3799241"/>
              <a:gd name="connsiteY12" fmla="*/ 148 h 1414085"/>
              <a:gd name="connsiteX13" fmla="*/ 1006904 w 3799241"/>
              <a:gd name="connsiteY13" fmla="*/ 314661 h 1414085"/>
              <a:gd name="connsiteX14" fmla="*/ 1153212 w 3799241"/>
              <a:gd name="connsiteY14" fmla="*/ 314661 h 1414085"/>
              <a:gd name="connsiteX15" fmla="*/ 1153212 w 3799241"/>
              <a:gd name="connsiteY15" fmla="*/ 148 h 1414085"/>
              <a:gd name="connsiteX16" fmla="*/ 1332647 w 3799241"/>
              <a:gd name="connsiteY16" fmla="*/ 148 h 1414085"/>
              <a:gd name="connsiteX17" fmla="*/ 1332647 w 3799241"/>
              <a:gd name="connsiteY17" fmla="*/ 633856 h 1414085"/>
              <a:gd name="connsiteX18" fmla="*/ 1478961 w 3799241"/>
              <a:gd name="connsiteY18" fmla="*/ 633856 h 1414085"/>
              <a:gd name="connsiteX19" fmla="*/ 1478961 w 3799241"/>
              <a:gd name="connsiteY19" fmla="*/ 148 h 1414085"/>
              <a:gd name="connsiteX20" fmla="*/ 1658390 w 3799241"/>
              <a:gd name="connsiteY20" fmla="*/ 148 h 1414085"/>
              <a:gd name="connsiteX21" fmla="*/ 1658390 w 3799241"/>
              <a:gd name="connsiteY21" fmla="*/ 314661 h 1414085"/>
              <a:gd name="connsiteX22" fmla="*/ 1804704 w 3799241"/>
              <a:gd name="connsiteY22" fmla="*/ 314661 h 1414085"/>
              <a:gd name="connsiteX23" fmla="*/ 1804704 w 3799241"/>
              <a:gd name="connsiteY23" fmla="*/ 148 h 1414085"/>
              <a:gd name="connsiteX24" fmla="*/ 1984139 w 3799241"/>
              <a:gd name="connsiteY24" fmla="*/ 148 h 1414085"/>
              <a:gd name="connsiteX25" fmla="*/ 1984139 w 3799241"/>
              <a:gd name="connsiteY25" fmla="*/ 314661 h 1414085"/>
              <a:gd name="connsiteX26" fmla="*/ 2130447 w 3799241"/>
              <a:gd name="connsiteY26" fmla="*/ 314661 h 1414085"/>
              <a:gd name="connsiteX27" fmla="*/ 2130447 w 3799241"/>
              <a:gd name="connsiteY27" fmla="*/ 148 h 1414085"/>
              <a:gd name="connsiteX28" fmla="*/ 2309882 w 3799241"/>
              <a:gd name="connsiteY28" fmla="*/ 148 h 1414085"/>
              <a:gd name="connsiteX29" fmla="*/ 2309882 w 3799241"/>
              <a:gd name="connsiteY29" fmla="*/ 633856 h 1414085"/>
              <a:gd name="connsiteX30" fmla="*/ 2456189 w 3799241"/>
              <a:gd name="connsiteY30" fmla="*/ 633856 h 1414085"/>
              <a:gd name="connsiteX31" fmla="*/ 2456189 w 3799241"/>
              <a:gd name="connsiteY31" fmla="*/ 148 h 1414085"/>
              <a:gd name="connsiteX32" fmla="*/ 2635625 w 3799241"/>
              <a:gd name="connsiteY32" fmla="*/ 148 h 1414085"/>
              <a:gd name="connsiteX33" fmla="*/ 2635625 w 3799241"/>
              <a:gd name="connsiteY33" fmla="*/ 314661 h 1414085"/>
              <a:gd name="connsiteX34" fmla="*/ 2781938 w 3799241"/>
              <a:gd name="connsiteY34" fmla="*/ 314661 h 1414085"/>
              <a:gd name="connsiteX35" fmla="*/ 2781938 w 3799241"/>
              <a:gd name="connsiteY35" fmla="*/ 148 h 1414085"/>
              <a:gd name="connsiteX36" fmla="*/ 2961368 w 3799241"/>
              <a:gd name="connsiteY36" fmla="*/ 148 h 1414085"/>
              <a:gd name="connsiteX37" fmla="*/ 2961368 w 3799241"/>
              <a:gd name="connsiteY37" fmla="*/ 314661 h 1414085"/>
              <a:gd name="connsiteX38" fmla="*/ 3107681 w 3799241"/>
              <a:gd name="connsiteY38" fmla="*/ 314661 h 1414085"/>
              <a:gd name="connsiteX39" fmla="*/ 3107681 w 3799241"/>
              <a:gd name="connsiteY39" fmla="*/ 148 h 1414085"/>
              <a:gd name="connsiteX40" fmla="*/ 3287117 w 3799241"/>
              <a:gd name="connsiteY40" fmla="*/ 148 h 1414085"/>
              <a:gd name="connsiteX41" fmla="*/ 3287117 w 3799241"/>
              <a:gd name="connsiteY41" fmla="*/ 633856 h 1414085"/>
              <a:gd name="connsiteX42" fmla="*/ 3433424 w 3799241"/>
              <a:gd name="connsiteY42" fmla="*/ 633856 h 1414085"/>
              <a:gd name="connsiteX43" fmla="*/ 3433424 w 3799241"/>
              <a:gd name="connsiteY43" fmla="*/ 148 h 1414085"/>
              <a:gd name="connsiteX44" fmla="*/ 3458162 w 3799241"/>
              <a:gd name="connsiteY44" fmla="*/ 148 h 1414085"/>
              <a:gd name="connsiteX45" fmla="*/ 3458162 w 3799241"/>
              <a:gd name="connsiteY45" fmla="*/ 0 h 1414085"/>
              <a:gd name="connsiteX46" fmla="*/ 3580804 w 3799241"/>
              <a:gd name="connsiteY46" fmla="*/ 0 h 1414085"/>
              <a:gd name="connsiteX47" fmla="*/ 3659592 w 3799241"/>
              <a:gd name="connsiteY47" fmla="*/ 0 h 1414085"/>
              <a:gd name="connsiteX48" fmla="*/ 3662814 w 3799241"/>
              <a:gd name="connsiteY48" fmla="*/ 0 h 1414085"/>
              <a:gd name="connsiteX49" fmla="*/ 3799241 w 3799241"/>
              <a:gd name="connsiteY49" fmla="*/ 136427 h 1414085"/>
              <a:gd name="connsiteX50" fmla="*/ 3799241 w 3799241"/>
              <a:gd name="connsiteY50" fmla="*/ 1277658 h 1414085"/>
              <a:gd name="connsiteX51" fmla="*/ 3662814 w 3799241"/>
              <a:gd name="connsiteY51" fmla="*/ 1414085 h 1414085"/>
              <a:gd name="connsiteX52" fmla="*/ 3659592 w 3799241"/>
              <a:gd name="connsiteY52" fmla="*/ 1414085 h 1414085"/>
              <a:gd name="connsiteX53" fmla="*/ 3580804 w 3799241"/>
              <a:gd name="connsiteY53" fmla="*/ 1414085 h 1414085"/>
              <a:gd name="connsiteX54" fmla="*/ 263457 w 3799241"/>
              <a:gd name="connsiteY54" fmla="*/ 1414085 h 1414085"/>
              <a:gd name="connsiteX55" fmla="*/ 233397 w 3799241"/>
              <a:gd name="connsiteY55" fmla="*/ 1411065 h 1414085"/>
              <a:gd name="connsiteX56" fmla="*/ 218437 w 3799241"/>
              <a:gd name="connsiteY56" fmla="*/ 1414085 h 1414085"/>
              <a:gd name="connsiteX57" fmla="*/ 136427 w 3799241"/>
              <a:gd name="connsiteY57" fmla="*/ 1414085 h 1414085"/>
              <a:gd name="connsiteX58" fmla="*/ 0 w 3799241"/>
              <a:gd name="connsiteY58" fmla="*/ 1277658 h 1414085"/>
              <a:gd name="connsiteX59" fmla="*/ 0 w 3799241"/>
              <a:gd name="connsiteY59" fmla="*/ 136427 h 1414085"/>
              <a:gd name="connsiteX60" fmla="*/ 136427 w 3799241"/>
              <a:gd name="connsiteY60" fmla="*/ 0 h 1414085"/>
              <a:gd name="connsiteX0" fmla="*/ 136427 w 3799241"/>
              <a:gd name="connsiteY0" fmla="*/ 0 h 1414085"/>
              <a:gd name="connsiteX1" fmla="*/ 218437 w 3799241"/>
              <a:gd name="connsiteY1" fmla="*/ 0 h 1414085"/>
              <a:gd name="connsiteX2" fmla="*/ 263457 w 3799241"/>
              <a:gd name="connsiteY2" fmla="*/ 148 h 1414085"/>
              <a:gd name="connsiteX3" fmla="*/ 355418 w 3799241"/>
              <a:gd name="connsiteY3" fmla="*/ 148 h 1414085"/>
              <a:gd name="connsiteX4" fmla="*/ 355418 w 3799241"/>
              <a:gd name="connsiteY4" fmla="*/ 633856 h 1414085"/>
              <a:gd name="connsiteX5" fmla="*/ 501726 w 3799241"/>
              <a:gd name="connsiteY5" fmla="*/ 633856 h 1414085"/>
              <a:gd name="connsiteX6" fmla="*/ 501726 w 3799241"/>
              <a:gd name="connsiteY6" fmla="*/ 148 h 1414085"/>
              <a:gd name="connsiteX7" fmla="*/ 681161 w 3799241"/>
              <a:gd name="connsiteY7" fmla="*/ 148 h 1414085"/>
              <a:gd name="connsiteX8" fmla="*/ 681161 w 3799241"/>
              <a:gd name="connsiteY8" fmla="*/ 314661 h 1414085"/>
              <a:gd name="connsiteX9" fmla="*/ 827469 w 3799241"/>
              <a:gd name="connsiteY9" fmla="*/ 314661 h 1414085"/>
              <a:gd name="connsiteX10" fmla="*/ 827469 w 3799241"/>
              <a:gd name="connsiteY10" fmla="*/ 148 h 1414085"/>
              <a:gd name="connsiteX11" fmla="*/ 1006904 w 3799241"/>
              <a:gd name="connsiteY11" fmla="*/ 148 h 1414085"/>
              <a:gd name="connsiteX12" fmla="*/ 1006904 w 3799241"/>
              <a:gd name="connsiteY12" fmla="*/ 314661 h 1414085"/>
              <a:gd name="connsiteX13" fmla="*/ 1153212 w 3799241"/>
              <a:gd name="connsiteY13" fmla="*/ 314661 h 1414085"/>
              <a:gd name="connsiteX14" fmla="*/ 1153212 w 3799241"/>
              <a:gd name="connsiteY14" fmla="*/ 148 h 1414085"/>
              <a:gd name="connsiteX15" fmla="*/ 1332647 w 3799241"/>
              <a:gd name="connsiteY15" fmla="*/ 148 h 1414085"/>
              <a:gd name="connsiteX16" fmla="*/ 1332647 w 3799241"/>
              <a:gd name="connsiteY16" fmla="*/ 633856 h 1414085"/>
              <a:gd name="connsiteX17" fmla="*/ 1478961 w 3799241"/>
              <a:gd name="connsiteY17" fmla="*/ 633856 h 1414085"/>
              <a:gd name="connsiteX18" fmla="*/ 1478961 w 3799241"/>
              <a:gd name="connsiteY18" fmla="*/ 148 h 1414085"/>
              <a:gd name="connsiteX19" fmla="*/ 1658390 w 3799241"/>
              <a:gd name="connsiteY19" fmla="*/ 148 h 1414085"/>
              <a:gd name="connsiteX20" fmla="*/ 1658390 w 3799241"/>
              <a:gd name="connsiteY20" fmla="*/ 314661 h 1414085"/>
              <a:gd name="connsiteX21" fmla="*/ 1804704 w 3799241"/>
              <a:gd name="connsiteY21" fmla="*/ 314661 h 1414085"/>
              <a:gd name="connsiteX22" fmla="*/ 1804704 w 3799241"/>
              <a:gd name="connsiteY22" fmla="*/ 148 h 1414085"/>
              <a:gd name="connsiteX23" fmla="*/ 1984139 w 3799241"/>
              <a:gd name="connsiteY23" fmla="*/ 148 h 1414085"/>
              <a:gd name="connsiteX24" fmla="*/ 1984139 w 3799241"/>
              <a:gd name="connsiteY24" fmla="*/ 314661 h 1414085"/>
              <a:gd name="connsiteX25" fmla="*/ 2130447 w 3799241"/>
              <a:gd name="connsiteY25" fmla="*/ 314661 h 1414085"/>
              <a:gd name="connsiteX26" fmla="*/ 2130447 w 3799241"/>
              <a:gd name="connsiteY26" fmla="*/ 148 h 1414085"/>
              <a:gd name="connsiteX27" fmla="*/ 2309882 w 3799241"/>
              <a:gd name="connsiteY27" fmla="*/ 148 h 1414085"/>
              <a:gd name="connsiteX28" fmla="*/ 2309882 w 3799241"/>
              <a:gd name="connsiteY28" fmla="*/ 633856 h 1414085"/>
              <a:gd name="connsiteX29" fmla="*/ 2456189 w 3799241"/>
              <a:gd name="connsiteY29" fmla="*/ 633856 h 1414085"/>
              <a:gd name="connsiteX30" fmla="*/ 2456189 w 3799241"/>
              <a:gd name="connsiteY30" fmla="*/ 148 h 1414085"/>
              <a:gd name="connsiteX31" fmla="*/ 2635625 w 3799241"/>
              <a:gd name="connsiteY31" fmla="*/ 148 h 1414085"/>
              <a:gd name="connsiteX32" fmla="*/ 2635625 w 3799241"/>
              <a:gd name="connsiteY32" fmla="*/ 314661 h 1414085"/>
              <a:gd name="connsiteX33" fmla="*/ 2781938 w 3799241"/>
              <a:gd name="connsiteY33" fmla="*/ 314661 h 1414085"/>
              <a:gd name="connsiteX34" fmla="*/ 2781938 w 3799241"/>
              <a:gd name="connsiteY34" fmla="*/ 148 h 1414085"/>
              <a:gd name="connsiteX35" fmla="*/ 2961368 w 3799241"/>
              <a:gd name="connsiteY35" fmla="*/ 148 h 1414085"/>
              <a:gd name="connsiteX36" fmla="*/ 2961368 w 3799241"/>
              <a:gd name="connsiteY36" fmla="*/ 314661 h 1414085"/>
              <a:gd name="connsiteX37" fmla="*/ 3107681 w 3799241"/>
              <a:gd name="connsiteY37" fmla="*/ 314661 h 1414085"/>
              <a:gd name="connsiteX38" fmla="*/ 3107681 w 3799241"/>
              <a:gd name="connsiteY38" fmla="*/ 148 h 1414085"/>
              <a:gd name="connsiteX39" fmla="*/ 3287117 w 3799241"/>
              <a:gd name="connsiteY39" fmla="*/ 148 h 1414085"/>
              <a:gd name="connsiteX40" fmla="*/ 3287117 w 3799241"/>
              <a:gd name="connsiteY40" fmla="*/ 633856 h 1414085"/>
              <a:gd name="connsiteX41" fmla="*/ 3433424 w 3799241"/>
              <a:gd name="connsiteY41" fmla="*/ 633856 h 1414085"/>
              <a:gd name="connsiteX42" fmla="*/ 3433424 w 3799241"/>
              <a:gd name="connsiteY42" fmla="*/ 148 h 1414085"/>
              <a:gd name="connsiteX43" fmla="*/ 3458162 w 3799241"/>
              <a:gd name="connsiteY43" fmla="*/ 148 h 1414085"/>
              <a:gd name="connsiteX44" fmla="*/ 3458162 w 3799241"/>
              <a:gd name="connsiteY44" fmla="*/ 0 h 1414085"/>
              <a:gd name="connsiteX45" fmla="*/ 3580804 w 3799241"/>
              <a:gd name="connsiteY45" fmla="*/ 0 h 1414085"/>
              <a:gd name="connsiteX46" fmla="*/ 3659592 w 3799241"/>
              <a:gd name="connsiteY46" fmla="*/ 0 h 1414085"/>
              <a:gd name="connsiteX47" fmla="*/ 3662814 w 3799241"/>
              <a:gd name="connsiteY47" fmla="*/ 0 h 1414085"/>
              <a:gd name="connsiteX48" fmla="*/ 3799241 w 3799241"/>
              <a:gd name="connsiteY48" fmla="*/ 136427 h 1414085"/>
              <a:gd name="connsiteX49" fmla="*/ 3799241 w 3799241"/>
              <a:gd name="connsiteY49" fmla="*/ 1277658 h 1414085"/>
              <a:gd name="connsiteX50" fmla="*/ 3662814 w 3799241"/>
              <a:gd name="connsiteY50" fmla="*/ 1414085 h 1414085"/>
              <a:gd name="connsiteX51" fmla="*/ 3659592 w 3799241"/>
              <a:gd name="connsiteY51" fmla="*/ 1414085 h 1414085"/>
              <a:gd name="connsiteX52" fmla="*/ 3580804 w 3799241"/>
              <a:gd name="connsiteY52" fmla="*/ 1414085 h 1414085"/>
              <a:gd name="connsiteX53" fmla="*/ 263457 w 3799241"/>
              <a:gd name="connsiteY53" fmla="*/ 1414085 h 1414085"/>
              <a:gd name="connsiteX54" fmla="*/ 233397 w 3799241"/>
              <a:gd name="connsiteY54" fmla="*/ 1411065 h 1414085"/>
              <a:gd name="connsiteX55" fmla="*/ 218437 w 3799241"/>
              <a:gd name="connsiteY55" fmla="*/ 1414085 h 1414085"/>
              <a:gd name="connsiteX56" fmla="*/ 136427 w 3799241"/>
              <a:gd name="connsiteY56" fmla="*/ 1414085 h 1414085"/>
              <a:gd name="connsiteX57" fmla="*/ 0 w 3799241"/>
              <a:gd name="connsiteY57" fmla="*/ 1277658 h 1414085"/>
              <a:gd name="connsiteX58" fmla="*/ 0 w 3799241"/>
              <a:gd name="connsiteY58" fmla="*/ 136427 h 1414085"/>
              <a:gd name="connsiteX59" fmla="*/ 136427 w 3799241"/>
              <a:gd name="connsiteY59" fmla="*/ 0 h 1414085"/>
              <a:gd name="connsiteX0" fmla="*/ 136427 w 3799241"/>
              <a:gd name="connsiteY0" fmla="*/ 0 h 1414085"/>
              <a:gd name="connsiteX1" fmla="*/ 263457 w 3799241"/>
              <a:gd name="connsiteY1" fmla="*/ 148 h 1414085"/>
              <a:gd name="connsiteX2" fmla="*/ 355418 w 3799241"/>
              <a:gd name="connsiteY2" fmla="*/ 148 h 1414085"/>
              <a:gd name="connsiteX3" fmla="*/ 355418 w 3799241"/>
              <a:gd name="connsiteY3" fmla="*/ 633856 h 1414085"/>
              <a:gd name="connsiteX4" fmla="*/ 501726 w 3799241"/>
              <a:gd name="connsiteY4" fmla="*/ 633856 h 1414085"/>
              <a:gd name="connsiteX5" fmla="*/ 501726 w 3799241"/>
              <a:gd name="connsiteY5" fmla="*/ 148 h 1414085"/>
              <a:gd name="connsiteX6" fmla="*/ 681161 w 3799241"/>
              <a:gd name="connsiteY6" fmla="*/ 148 h 1414085"/>
              <a:gd name="connsiteX7" fmla="*/ 681161 w 3799241"/>
              <a:gd name="connsiteY7" fmla="*/ 314661 h 1414085"/>
              <a:gd name="connsiteX8" fmla="*/ 827469 w 3799241"/>
              <a:gd name="connsiteY8" fmla="*/ 314661 h 1414085"/>
              <a:gd name="connsiteX9" fmla="*/ 827469 w 3799241"/>
              <a:gd name="connsiteY9" fmla="*/ 148 h 1414085"/>
              <a:gd name="connsiteX10" fmla="*/ 1006904 w 3799241"/>
              <a:gd name="connsiteY10" fmla="*/ 148 h 1414085"/>
              <a:gd name="connsiteX11" fmla="*/ 1006904 w 3799241"/>
              <a:gd name="connsiteY11" fmla="*/ 314661 h 1414085"/>
              <a:gd name="connsiteX12" fmla="*/ 1153212 w 3799241"/>
              <a:gd name="connsiteY12" fmla="*/ 314661 h 1414085"/>
              <a:gd name="connsiteX13" fmla="*/ 1153212 w 3799241"/>
              <a:gd name="connsiteY13" fmla="*/ 148 h 1414085"/>
              <a:gd name="connsiteX14" fmla="*/ 1332647 w 3799241"/>
              <a:gd name="connsiteY14" fmla="*/ 148 h 1414085"/>
              <a:gd name="connsiteX15" fmla="*/ 1332647 w 3799241"/>
              <a:gd name="connsiteY15" fmla="*/ 633856 h 1414085"/>
              <a:gd name="connsiteX16" fmla="*/ 1478961 w 3799241"/>
              <a:gd name="connsiteY16" fmla="*/ 633856 h 1414085"/>
              <a:gd name="connsiteX17" fmla="*/ 1478961 w 3799241"/>
              <a:gd name="connsiteY17" fmla="*/ 148 h 1414085"/>
              <a:gd name="connsiteX18" fmla="*/ 1658390 w 3799241"/>
              <a:gd name="connsiteY18" fmla="*/ 148 h 1414085"/>
              <a:gd name="connsiteX19" fmla="*/ 1658390 w 3799241"/>
              <a:gd name="connsiteY19" fmla="*/ 314661 h 1414085"/>
              <a:gd name="connsiteX20" fmla="*/ 1804704 w 3799241"/>
              <a:gd name="connsiteY20" fmla="*/ 314661 h 1414085"/>
              <a:gd name="connsiteX21" fmla="*/ 1804704 w 3799241"/>
              <a:gd name="connsiteY21" fmla="*/ 148 h 1414085"/>
              <a:gd name="connsiteX22" fmla="*/ 1984139 w 3799241"/>
              <a:gd name="connsiteY22" fmla="*/ 148 h 1414085"/>
              <a:gd name="connsiteX23" fmla="*/ 1984139 w 3799241"/>
              <a:gd name="connsiteY23" fmla="*/ 314661 h 1414085"/>
              <a:gd name="connsiteX24" fmla="*/ 2130447 w 3799241"/>
              <a:gd name="connsiteY24" fmla="*/ 314661 h 1414085"/>
              <a:gd name="connsiteX25" fmla="*/ 2130447 w 3799241"/>
              <a:gd name="connsiteY25" fmla="*/ 148 h 1414085"/>
              <a:gd name="connsiteX26" fmla="*/ 2309882 w 3799241"/>
              <a:gd name="connsiteY26" fmla="*/ 148 h 1414085"/>
              <a:gd name="connsiteX27" fmla="*/ 2309882 w 3799241"/>
              <a:gd name="connsiteY27" fmla="*/ 633856 h 1414085"/>
              <a:gd name="connsiteX28" fmla="*/ 2456189 w 3799241"/>
              <a:gd name="connsiteY28" fmla="*/ 633856 h 1414085"/>
              <a:gd name="connsiteX29" fmla="*/ 2456189 w 3799241"/>
              <a:gd name="connsiteY29" fmla="*/ 148 h 1414085"/>
              <a:gd name="connsiteX30" fmla="*/ 2635625 w 3799241"/>
              <a:gd name="connsiteY30" fmla="*/ 148 h 1414085"/>
              <a:gd name="connsiteX31" fmla="*/ 2635625 w 3799241"/>
              <a:gd name="connsiteY31" fmla="*/ 314661 h 1414085"/>
              <a:gd name="connsiteX32" fmla="*/ 2781938 w 3799241"/>
              <a:gd name="connsiteY32" fmla="*/ 314661 h 1414085"/>
              <a:gd name="connsiteX33" fmla="*/ 2781938 w 3799241"/>
              <a:gd name="connsiteY33" fmla="*/ 148 h 1414085"/>
              <a:gd name="connsiteX34" fmla="*/ 2961368 w 3799241"/>
              <a:gd name="connsiteY34" fmla="*/ 148 h 1414085"/>
              <a:gd name="connsiteX35" fmla="*/ 2961368 w 3799241"/>
              <a:gd name="connsiteY35" fmla="*/ 314661 h 1414085"/>
              <a:gd name="connsiteX36" fmla="*/ 3107681 w 3799241"/>
              <a:gd name="connsiteY36" fmla="*/ 314661 h 1414085"/>
              <a:gd name="connsiteX37" fmla="*/ 3107681 w 3799241"/>
              <a:gd name="connsiteY37" fmla="*/ 148 h 1414085"/>
              <a:gd name="connsiteX38" fmla="*/ 3287117 w 3799241"/>
              <a:gd name="connsiteY38" fmla="*/ 148 h 1414085"/>
              <a:gd name="connsiteX39" fmla="*/ 3287117 w 3799241"/>
              <a:gd name="connsiteY39" fmla="*/ 633856 h 1414085"/>
              <a:gd name="connsiteX40" fmla="*/ 3433424 w 3799241"/>
              <a:gd name="connsiteY40" fmla="*/ 633856 h 1414085"/>
              <a:gd name="connsiteX41" fmla="*/ 3433424 w 3799241"/>
              <a:gd name="connsiteY41" fmla="*/ 148 h 1414085"/>
              <a:gd name="connsiteX42" fmla="*/ 3458162 w 3799241"/>
              <a:gd name="connsiteY42" fmla="*/ 148 h 1414085"/>
              <a:gd name="connsiteX43" fmla="*/ 3458162 w 3799241"/>
              <a:gd name="connsiteY43" fmla="*/ 0 h 1414085"/>
              <a:gd name="connsiteX44" fmla="*/ 3580804 w 3799241"/>
              <a:gd name="connsiteY44" fmla="*/ 0 h 1414085"/>
              <a:gd name="connsiteX45" fmla="*/ 3659592 w 3799241"/>
              <a:gd name="connsiteY45" fmla="*/ 0 h 1414085"/>
              <a:gd name="connsiteX46" fmla="*/ 3662814 w 3799241"/>
              <a:gd name="connsiteY46" fmla="*/ 0 h 1414085"/>
              <a:gd name="connsiteX47" fmla="*/ 3799241 w 3799241"/>
              <a:gd name="connsiteY47" fmla="*/ 136427 h 1414085"/>
              <a:gd name="connsiteX48" fmla="*/ 3799241 w 3799241"/>
              <a:gd name="connsiteY48" fmla="*/ 1277658 h 1414085"/>
              <a:gd name="connsiteX49" fmla="*/ 3662814 w 3799241"/>
              <a:gd name="connsiteY49" fmla="*/ 1414085 h 1414085"/>
              <a:gd name="connsiteX50" fmla="*/ 3659592 w 3799241"/>
              <a:gd name="connsiteY50" fmla="*/ 1414085 h 1414085"/>
              <a:gd name="connsiteX51" fmla="*/ 3580804 w 3799241"/>
              <a:gd name="connsiteY51" fmla="*/ 1414085 h 1414085"/>
              <a:gd name="connsiteX52" fmla="*/ 263457 w 3799241"/>
              <a:gd name="connsiteY52" fmla="*/ 1414085 h 1414085"/>
              <a:gd name="connsiteX53" fmla="*/ 233397 w 3799241"/>
              <a:gd name="connsiteY53" fmla="*/ 1411065 h 1414085"/>
              <a:gd name="connsiteX54" fmla="*/ 218437 w 3799241"/>
              <a:gd name="connsiteY54" fmla="*/ 1414085 h 1414085"/>
              <a:gd name="connsiteX55" fmla="*/ 136427 w 3799241"/>
              <a:gd name="connsiteY55" fmla="*/ 1414085 h 1414085"/>
              <a:gd name="connsiteX56" fmla="*/ 0 w 3799241"/>
              <a:gd name="connsiteY56" fmla="*/ 1277658 h 1414085"/>
              <a:gd name="connsiteX57" fmla="*/ 0 w 3799241"/>
              <a:gd name="connsiteY57" fmla="*/ 136427 h 1414085"/>
              <a:gd name="connsiteX58" fmla="*/ 136427 w 3799241"/>
              <a:gd name="connsiteY58" fmla="*/ 0 h 1414085"/>
              <a:gd name="connsiteX0" fmla="*/ 136427 w 3799241"/>
              <a:gd name="connsiteY0" fmla="*/ 0 h 1414085"/>
              <a:gd name="connsiteX1" fmla="*/ 355418 w 3799241"/>
              <a:gd name="connsiteY1" fmla="*/ 148 h 1414085"/>
              <a:gd name="connsiteX2" fmla="*/ 355418 w 3799241"/>
              <a:gd name="connsiteY2" fmla="*/ 633856 h 1414085"/>
              <a:gd name="connsiteX3" fmla="*/ 501726 w 3799241"/>
              <a:gd name="connsiteY3" fmla="*/ 633856 h 1414085"/>
              <a:gd name="connsiteX4" fmla="*/ 501726 w 3799241"/>
              <a:gd name="connsiteY4" fmla="*/ 148 h 1414085"/>
              <a:gd name="connsiteX5" fmla="*/ 681161 w 3799241"/>
              <a:gd name="connsiteY5" fmla="*/ 148 h 1414085"/>
              <a:gd name="connsiteX6" fmla="*/ 681161 w 3799241"/>
              <a:gd name="connsiteY6" fmla="*/ 314661 h 1414085"/>
              <a:gd name="connsiteX7" fmla="*/ 827469 w 3799241"/>
              <a:gd name="connsiteY7" fmla="*/ 314661 h 1414085"/>
              <a:gd name="connsiteX8" fmla="*/ 827469 w 3799241"/>
              <a:gd name="connsiteY8" fmla="*/ 148 h 1414085"/>
              <a:gd name="connsiteX9" fmla="*/ 1006904 w 3799241"/>
              <a:gd name="connsiteY9" fmla="*/ 148 h 1414085"/>
              <a:gd name="connsiteX10" fmla="*/ 1006904 w 3799241"/>
              <a:gd name="connsiteY10" fmla="*/ 314661 h 1414085"/>
              <a:gd name="connsiteX11" fmla="*/ 1153212 w 3799241"/>
              <a:gd name="connsiteY11" fmla="*/ 314661 h 1414085"/>
              <a:gd name="connsiteX12" fmla="*/ 1153212 w 3799241"/>
              <a:gd name="connsiteY12" fmla="*/ 148 h 1414085"/>
              <a:gd name="connsiteX13" fmla="*/ 1332647 w 3799241"/>
              <a:gd name="connsiteY13" fmla="*/ 148 h 1414085"/>
              <a:gd name="connsiteX14" fmla="*/ 1332647 w 3799241"/>
              <a:gd name="connsiteY14" fmla="*/ 633856 h 1414085"/>
              <a:gd name="connsiteX15" fmla="*/ 1478961 w 3799241"/>
              <a:gd name="connsiteY15" fmla="*/ 633856 h 1414085"/>
              <a:gd name="connsiteX16" fmla="*/ 1478961 w 3799241"/>
              <a:gd name="connsiteY16" fmla="*/ 148 h 1414085"/>
              <a:gd name="connsiteX17" fmla="*/ 1658390 w 3799241"/>
              <a:gd name="connsiteY17" fmla="*/ 148 h 1414085"/>
              <a:gd name="connsiteX18" fmla="*/ 1658390 w 3799241"/>
              <a:gd name="connsiteY18" fmla="*/ 314661 h 1414085"/>
              <a:gd name="connsiteX19" fmla="*/ 1804704 w 3799241"/>
              <a:gd name="connsiteY19" fmla="*/ 314661 h 1414085"/>
              <a:gd name="connsiteX20" fmla="*/ 1804704 w 3799241"/>
              <a:gd name="connsiteY20" fmla="*/ 148 h 1414085"/>
              <a:gd name="connsiteX21" fmla="*/ 1984139 w 3799241"/>
              <a:gd name="connsiteY21" fmla="*/ 148 h 1414085"/>
              <a:gd name="connsiteX22" fmla="*/ 1984139 w 3799241"/>
              <a:gd name="connsiteY22" fmla="*/ 314661 h 1414085"/>
              <a:gd name="connsiteX23" fmla="*/ 2130447 w 3799241"/>
              <a:gd name="connsiteY23" fmla="*/ 314661 h 1414085"/>
              <a:gd name="connsiteX24" fmla="*/ 2130447 w 3799241"/>
              <a:gd name="connsiteY24" fmla="*/ 148 h 1414085"/>
              <a:gd name="connsiteX25" fmla="*/ 2309882 w 3799241"/>
              <a:gd name="connsiteY25" fmla="*/ 148 h 1414085"/>
              <a:gd name="connsiteX26" fmla="*/ 2309882 w 3799241"/>
              <a:gd name="connsiteY26" fmla="*/ 633856 h 1414085"/>
              <a:gd name="connsiteX27" fmla="*/ 2456189 w 3799241"/>
              <a:gd name="connsiteY27" fmla="*/ 633856 h 1414085"/>
              <a:gd name="connsiteX28" fmla="*/ 2456189 w 3799241"/>
              <a:gd name="connsiteY28" fmla="*/ 148 h 1414085"/>
              <a:gd name="connsiteX29" fmla="*/ 2635625 w 3799241"/>
              <a:gd name="connsiteY29" fmla="*/ 148 h 1414085"/>
              <a:gd name="connsiteX30" fmla="*/ 2635625 w 3799241"/>
              <a:gd name="connsiteY30" fmla="*/ 314661 h 1414085"/>
              <a:gd name="connsiteX31" fmla="*/ 2781938 w 3799241"/>
              <a:gd name="connsiteY31" fmla="*/ 314661 h 1414085"/>
              <a:gd name="connsiteX32" fmla="*/ 2781938 w 3799241"/>
              <a:gd name="connsiteY32" fmla="*/ 148 h 1414085"/>
              <a:gd name="connsiteX33" fmla="*/ 2961368 w 3799241"/>
              <a:gd name="connsiteY33" fmla="*/ 148 h 1414085"/>
              <a:gd name="connsiteX34" fmla="*/ 2961368 w 3799241"/>
              <a:gd name="connsiteY34" fmla="*/ 314661 h 1414085"/>
              <a:gd name="connsiteX35" fmla="*/ 3107681 w 3799241"/>
              <a:gd name="connsiteY35" fmla="*/ 314661 h 1414085"/>
              <a:gd name="connsiteX36" fmla="*/ 3107681 w 3799241"/>
              <a:gd name="connsiteY36" fmla="*/ 148 h 1414085"/>
              <a:gd name="connsiteX37" fmla="*/ 3287117 w 3799241"/>
              <a:gd name="connsiteY37" fmla="*/ 148 h 1414085"/>
              <a:gd name="connsiteX38" fmla="*/ 3287117 w 3799241"/>
              <a:gd name="connsiteY38" fmla="*/ 633856 h 1414085"/>
              <a:gd name="connsiteX39" fmla="*/ 3433424 w 3799241"/>
              <a:gd name="connsiteY39" fmla="*/ 633856 h 1414085"/>
              <a:gd name="connsiteX40" fmla="*/ 3433424 w 3799241"/>
              <a:gd name="connsiteY40" fmla="*/ 148 h 1414085"/>
              <a:gd name="connsiteX41" fmla="*/ 3458162 w 3799241"/>
              <a:gd name="connsiteY41" fmla="*/ 148 h 1414085"/>
              <a:gd name="connsiteX42" fmla="*/ 3458162 w 3799241"/>
              <a:gd name="connsiteY42" fmla="*/ 0 h 1414085"/>
              <a:gd name="connsiteX43" fmla="*/ 3580804 w 3799241"/>
              <a:gd name="connsiteY43" fmla="*/ 0 h 1414085"/>
              <a:gd name="connsiteX44" fmla="*/ 3659592 w 3799241"/>
              <a:gd name="connsiteY44" fmla="*/ 0 h 1414085"/>
              <a:gd name="connsiteX45" fmla="*/ 3662814 w 3799241"/>
              <a:gd name="connsiteY45" fmla="*/ 0 h 1414085"/>
              <a:gd name="connsiteX46" fmla="*/ 3799241 w 3799241"/>
              <a:gd name="connsiteY46" fmla="*/ 136427 h 1414085"/>
              <a:gd name="connsiteX47" fmla="*/ 3799241 w 3799241"/>
              <a:gd name="connsiteY47" fmla="*/ 1277658 h 1414085"/>
              <a:gd name="connsiteX48" fmla="*/ 3662814 w 3799241"/>
              <a:gd name="connsiteY48" fmla="*/ 1414085 h 1414085"/>
              <a:gd name="connsiteX49" fmla="*/ 3659592 w 3799241"/>
              <a:gd name="connsiteY49" fmla="*/ 1414085 h 1414085"/>
              <a:gd name="connsiteX50" fmla="*/ 3580804 w 3799241"/>
              <a:gd name="connsiteY50" fmla="*/ 1414085 h 1414085"/>
              <a:gd name="connsiteX51" fmla="*/ 263457 w 3799241"/>
              <a:gd name="connsiteY51" fmla="*/ 1414085 h 1414085"/>
              <a:gd name="connsiteX52" fmla="*/ 233397 w 3799241"/>
              <a:gd name="connsiteY52" fmla="*/ 1411065 h 1414085"/>
              <a:gd name="connsiteX53" fmla="*/ 218437 w 3799241"/>
              <a:gd name="connsiteY53" fmla="*/ 1414085 h 1414085"/>
              <a:gd name="connsiteX54" fmla="*/ 136427 w 3799241"/>
              <a:gd name="connsiteY54" fmla="*/ 1414085 h 1414085"/>
              <a:gd name="connsiteX55" fmla="*/ 0 w 3799241"/>
              <a:gd name="connsiteY55" fmla="*/ 1277658 h 1414085"/>
              <a:gd name="connsiteX56" fmla="*/ 0 w 3799241"/>
              <a:gd name="connsiteY56" fmla="*/ 136427 h 1414085"/>
              <a:gd name="connsiteX57" fmla="*/ 136427 w 3799241"/>
              <a:gd name="connsiteY57" fmla="*/ 0 h 1414085"/>
              <a:gd name="connsiteX0" fmla="*/ 136427 w 3799241"/>
              <a:gd name="connsiteY0" fmla="*/ 0 h 1414085"/>
              <a:gd name="connsiteX1" fmla="*/ 355418 w 3799241"/>
              <a:gd name="connsiteY1" fmla="*/ 148 h 1414085"/>
              <a:gd name="connsiteX2" fmla="*/ 355418 w 3799241"/>
              <a:gd name="connsiteY2" fmla="*/ 633856 h 1414085"/>
              <a:gd name="connsiteX3" fmla="*/ 501726 w 3799241"/>
              <a:gd name="connsiteY3" fmla="*/ 633856 h 1414085"/>
              <a:gd name="connsiteX4" fmla="*/ 501726 w 3799241"/>
              <a:gd name="connsiteY4" fmla="*/ 148 h 1414085"/>
              <a:gd name="connsiteX5" fmla="*/ 681161 w 3799241"/>
              <a:gd name="connsiteY5" fmla="*/ 148 h 1414085"/>
              <a:gd name="connsiteX6" fmla="*/ 681161 w 3799241"/>
              <a:gd name="connsiteY6" fmla="*/ 314661 h 1414085"/>
              <a:gd name="connsiteX7" fmla="*/ 827469 w 3799241"/>
              <a:gd name="connsiteY7" fmla="*/ 314661 h 1414085"/>
              <a:gd name="connsiteX8" fmla="*/ 827469 w 3799241"/>
              <a:gd name="connsiteY8" fmla="*/ 148 h 1414085"/>
              <a:gd name="connsiteX9" fmla="*/ 1006904 w 3799241"/>
              <a:gd name="connsiteY9" fmla="*/ 148 h 1414085"/>
              <a:gd name="connsiteX10" fmla="*/ 1006904 w 3799241"/>
              <a:gd name="connsiteY10" fmla="*/ 314661 h 1414085"/>
              <a:gd name="connsiteX11" fmla="*/ 1153212 w 3799241"/>
              <a:gd name="connsiteY11" fmla="*/ 314661 h 1414085"/>
              <a:gd name="connsiteX12" fmla="*/ 1153212 w 3799241"/>
              <a:gd name="connsiteY12" fmla="*/ 148 h 1414085"/>
              <a:gd name="connsiteX13" fmla="*/ 1332647 w 3799241"/>
              <a:gd name="connsiteY13" fmla="*/ 148 h 1414085"/>
              <a:gd name="connsiteX14" fmla="*/ 1332647 w 3799241"/>
              <a:gd name="connsiteY14" fmla="*/ 633856 h 1414085"/>
              <a:gd name="connsiteX15" fmla="*/ 1478961 w 3799241"/>
              <a:gd name="connsiteY15" fmla="*/ 633856 h 1414085"/>
              <a:gd name="connsiteX16" fmla="*/ 1478961 w 3799241"/>
              <a:gd name="connsiteY16" fmla="*/ 148 h 1414085"/>
              <a:gd name="connsiteX17" fmla="*/ 1658390 w 3799241"/>
              <a:gd name="connsiteY17" fmla="*/ 148 h 1414085"/>
              <a:gd name="connsiteX18" fmla="*/ 1658390 w 3799241"/>
              <a:gd name="connsiteY18" fmla="*/ 314661 h 1414085"/>
              <a:gd name="connsiteX19" fmla="*/ 1804704 w 3799241"/>
              <a:gd name="connsiteY19" fmla="*/ 314661 h 1414085"/>
              <a:gd name="connsiteX20" fmla="*/ 1804704 w 3799241"/>
              <a:gd name="connsiteY20" fmla="*/ 148 h 1414085"/>
              <a:gd name="connsiteX21" fmla="*/ 1984139 w 3799241"/>
              <a:gd name="connsiteY21" fmla="*/ 148 h 1414085"/>
              <a:gd name="connsiteX22" fmla="*/ 1984139 w 3799241"/>
              <a:gd name="connsiteY22" fmla="*/ 314661 h 1414085"/>
              <a:gd name="connsiteX23" fmla="*/ 2130447 w 3799241"/>
              <a:gd name="connsiteY23" fmla="*/ 314661 h 1414085"/>
              <a:gd name="connsiteX24" fmla="*/ 2130447 w 3799241"/>
              <a:gd name="connsiteY24" fmla="*/ 148 h 1414085"/>
              <a:gd name="connsiteX25" fmla="*/ 2309882 w 3799241"/>
              <a:gd name="connsiteY25" fmla="*/ 148 h 1414085"/>
              <a:gd name="connsiteX26" fmla="*/ 2309882 w 3799241"/>
              <a:gd name="connsiteY26" fmla="*/ 633856 h 1414085"/>
              <a:gd name="connsiteX27" fmla="*/ 2456189 w 3799241"/>
              <a:gd name="connsiteY27" fmla="*/ 633856 h 1414085"/>
              <a:gd name="connsiteX28" fmla="*/ 2456189 w 3799241"/>
              <a:gd name="connsiteY28" fmla="*/ 148 h 1414085"/>
              <a:gd name="connsiteX29" fmla="*/ 2635625 w 3799241"/>
              <a:gd name="connsiteY29" fmla="*/ 148 h 1414085"/>
              <a:gd name="connsiteX30" fmla="*/ 2635625 w 3799241"/>
              <a:gd name="connsiteY30" fmla="*/ 314661 h 1414085"/>
              <a:gd name="connsiteX31" fmla="*/ 2781938 w 3799241"/>
              <a:gd name="connsiteY31" fmla="*/ 314661 h 1414085"/>
              <a:gd name="connsiteX32" fmla="*/ 2781938 w 3799241"/>
              <a:gd name="connsiteY32" fmla="*/ 148 h 1414085"/>
              <a:gd name="connsiteX33" fmla="*/ 2961368 w 3799241"/>
              <a:gd name="connsiteY33" fmla="*/ 148 h 1414085"/>
              <a:gd name="connsiteX34" fmla="*/ 2961368 w 3799241"/>
              <a:gd name="connsiteY34" fmla="*/ 314661 h 1414085"/>
              <a:gd name="connsiteX35" fmla="*/ 3107681 w 3799241"/>
              <a:gd name="connsiteY35" fmla="*/ 314661 h 1414085"/>
              <a:gd name="connsiteX36" fmla="*/ 3107681 w 3799241"/>
              <a:gd name="connsiteY36" fmla="*/ 148 h 1414085"/>
              <a:gd name="connsiteX37" fmla="*/ 3287117 w 3799241"/>
              <a:gd name="connsiteY37" fmla="*/ 148 h 1414085"/>
              <a:gd name="connsiteX38" fmla="*/ 3287117 w 3799241"/>
              <a:gd name="connsiteY38" fmla="*/ 633856 h 1414085"/>
              <a:gd name="connsiteX39" fmla="*/ 3433424 w 3799241"/>
              <a:gd name="connsiteY39" fmla="*/ 633856 h 1414085"/>
              <a:gd name="connsiteX40" fmla="*/ 3433424 w 3799241"/>
              <a:gd name="connsiteY40" fmla="*/ 148 h 1414085"/>
              <a:gd name="connsiteX41" fmla="*/ 3458162 w 3799241"/>
              <a:gd name="connsiteY41" fmla="*/ 148 h 1414085"/>
              <a:gd name="connsiteX42" fmla="*/ 3458162 w 3799241"/>
              <a:gd name="connsiteY42" fmla="*/ 0 h 1414085"/>
              <a:gd name="connsiteX43" fmla="*/ 3580804 w 3799241"/>
              <a:gd name="connsiteY43" fmla="*/ 0 h 1414085"/>
              <a:gd name="connsiteX44" fmla="*/ 3659592 w 3799241"/>
              <a:gd name="connsiteY44" fmla="*/ 0 h 1414085"/>
              <a:gd name="connsiteX45" fmla="*/ 3662814 w 3799241"/>
              <a:gd name="connsiteY45" fmla="*/ 0 h 1414085"/>
              <a:gd name="connsiteX46" fmla="*/ 3799241 w 3799241"/>
              <a:gd name="connsiteY46" fmla="*/ 136427 h 1414085"/>
              <a:gd name="connsiteX47" fmla="*/ 3799241 w 3799241"/>
              <a:gd name="connsiteY47" fmla="*/ 1277658 h 1414085"/>
              <a:gd name="connsiteX48" fmla="*/ 3662814 w 3799241"/>
              <a:gd name="connsiteY48" fmla="*/ 1414085 h 1414085"/>
              <a:gd name="connsiteX49" fmla="*/ 3659592 w 3799241"/>
              <a:gd name="connsiteY49" fmla="*/ 1414085 h 1414085"/>
              <a:gd name="connsiteX50" fmla="*/ 3580804 w 3799241"/>
              <a:gd name="connsiteY50" fmla="*/ 1414085 h 1414085"/>
              <a:gd name="connsiteX51" fmla="*/ 263457 w 3799241"/>
              <a:gd name="connsiteY51" fmla="*/ 1414085 h 1414085"/>
              <a:gd name="connsiteX52" fmla="*/ 233397 w 3799241"/>
              <a:gd name="connsiteY52" fmla="*/ 1411065 h 1414085"/>
              <a:gd name="connsiteX53" fmla="*/ 136427 w 3799241"/>
              <a:gd name="connsiteY53" fmla="*/ 1414085 h 1414085"/>
              <a:gd name="connsiteX54" fmla="*/ 0 w 3799241"/>
              <a:gd name="connsiteY54" fmla="*/ 1277658 h 1414085"/>
              <a:gd name="connsiteX55" fmla="*/ 0 w 3799241"/>
              <a:gd name="connsiteY55" fmla="*/ 136427 h 1414085"/>
              <a:gd name="connsiteX56" fmla="*/ 136427 w 3799241"/>
              <a:gd name="connsiteY56" fmla="*/ 0 h 1414085"/>
              <a:gd name="connsiteX0" fmla="*/ 136427 w 3799241"/>
              <a:gd name="connsiteY0" fmla="*/ 0 h 1414085"/>
              <a:gd name="connsiteX1" fmla="*/ 355418 w 3799241"/>
              <a:gd name="connsiteY1" fmla="*/ 148 h 1414085"/>
              <a:gd name="connsiteX2" fmla="*/ 355418 w 3799241"/>
              <a:gd name="connsiteY2" fmla="*/ 633856 h 1414085"/>
              <a:gd name="connsiteX3" fmla="*/ 501726 w 3799241"/>
              <a:gd name="connsiteY3" fmla="*/ 633856 h 1414085"/>
              <a:gd name="connsiteX4" fmla="*/ 501726 w 3799241"/>
              <a:gd name="connsiteY4" fmla="*/ 148 h 1414085"/>
              <a:gd name="connsiteX5" fmla="*/ 681161 w 3799241"/>
              <a:gd name="connsiteY5" fmla="*/ 148 h 1414085"/>
              <a:gd name="connsiteX6" fmla="*/ 681161 w 3799241"/>
              <a:gd name="connsiteY6" fmla="*/ 314661 h 1414085"/>
              <a:gd name="connsiteX7" fmla="*/ 827469 w 3799241"/>
              <a:gd name="connsiteY7" fmla="*/ 314661 h 1414085"/>
              <a:gd name="connsiteX8" fmla="*/ 827469 w 3799241"/>
              <a:gd name="connsiteY8" fmla="*/ 148 h 1414085"/>
              <a:gd name="connsiteX9" fmla="*/ 1006904 w 3799241"/>
              <a:gd name="connsiteY9" fmla="*/ 148 h 1414085"/>
              <a:gd name="connsiteX10" fmla="*/ 1006904 w 3799241"/>
              <a:gd name="connsiteY10" fmla="*/ 314661 h 1414085"/>
              <a:gd name="connsiteX11" fmla="*/ 1153212 w 3799241"/>
              <a:gd name="connsiteY11" fmla="*/ 314661 h 1414085"/>
              <a:gd name="connsiteX12" fmla="*/ 1153212 w 3799241"/>
              <a:gd name="connsiteY12" fmla="*/ 148 h 1414085"/>
              <a:gd name="connsiteX13" fmla="*/ 1332647 w 3799241"/>
              <a:gd name="connsiteY13" fmla="*/ 148 h 1414085"/>
              <a:gd name="connsiteX14" fmla="*/ 1332647 w 3799241"/>
              <a:gd name="connsiteY14" fmla="*/ 633856 h 1414085"/>
              <a:gd name="connsiteX15" fmla="*/ 1478961 w 3799241"/>
              <a:gd name="connsiteY15" fmla="*/ 633856 h 1414085"/>
              <a:gd name="connsiteX16" fmla="*/ 1478961 w 3799241"/>
              <a:gd name="connsiteY16" fmla="*/ 148 h 1414085"/>
              <a:gd name="connsiteX17" fmla="*/ 1658390 w 3799241"/>
              <a:gd name="connsiteY17" fmla="*/ 148 h 1414085"/>
              <a:gd name="connsiteX18" fmla="*/ 1658390 w 3799241"/>
              <a:gd name="connsiteY18" fmla="*/ 314661 h 1414085"/>
              <a:gd name="connsiteX19" fmla="*/ 1804704 w 3799241"/>
              <a:gd name="connsiteY19" fmla="*/ 314661 h 1414085"/>
              <a:gd name="connsiteX20" fmla="*/ 1804704 w 3799241"/>
              <a:gd name="connsiteY20" fmla="*/ 148 h 1414085"/>
              <a:gd name="connsiteX21" fmla="*/ 1984139 w 3799241"/>
              <a:gd name="connsiteY21" fmla="*/ 148 h 1414085"/>
              <a:gd name="connsiteX22" fmla="*/ 1984139 w 3799241"/>
              <a:gd name="connsiteY22" fmla="*/ 314661 h 1414085"/>
              <a:gd name="connsiteX23" fmla="*/ 2130447 w 3799241"/>
              <a:gd name="connsiteY23" fmla="*/ 314661 h 1414085"/>
              <a:gd name="connsiteX24" fmla="*/ 2130447 w 3799241"/>
              <a:gd name="connsiteY24" fmla="*/ 148 h 1414085"/>
              <a:gd name="connsiteX25" fmla="*/ 2309882 w 3799241"/>
              <a:gd name="connsiteY25" fmla="*/ 148 h 1414085"/>
              <a:gd name="connsiteX26" fmla="*/ 2309882 w 3799241"/>
              <a:gd name="connsiteY26" fmla="*/ 633856 h 1414085"/>
              <a:gd name="connsiteX27" fmla="*/ 2456189 w 3799241"/>
              <a:gd name="connsiteY27" fmla="*/ 633856 h 1414085"/>
              <a:gd name="connsiteX28" fmla="*/ 2456189 w 3799241"/>
              <a:gd name="connsiteY28" fmla="*/ 148 h 1414085"/>
              <a:gd name="connsiteX29" fmla="*/ 2635625 w 3799241"/>
              <a:gd name="connsiteY29" fmla="*/ 148 h 1414085"/>
              <a:gd name="connsiteX30" fmla="*/ 2635625 w 3799241"/>
              <a:gd name="connsiteY30" fmla="*/ 314661 h 1414085"/>
              <a:gd name="connsiteX31" fmla="*/ 2781938 w 3799241"/>
              <a:gd name="connsiteY31" fmla="*/ 314661 h 1414085"/>
              <a:gd name="connsiteX32" fmla="*/ 2781938 w 3799241"/>
              <a:gd name="connsiteY32" fmla="*/ 148 h 1414085"/>
              <a:gd name="connsiteX33" fmla="*/ 2961368 w 3799241"/>
              <a:gd name="connsiteY33" fmla="*/ 148 h 1414085"/>
              <a:gd name="connsiteX34" fmla="*/ 2961368 w 3799241"/>
              <a:gd name="connsiteY34" fmla="*/ 314661 h 1414085"/>
              <a:gd name="connsiteX35" fmla="*/ 3107681 w 3799241"/>
              <a:gd name="connsiteY35" fmla="*/ 314661 h 1414085"/>
              <a:gd name="connsiteX36" fmla="*/ 3107681 w 3799241"/>
              <a:gd name="connsiteY36" fmla="*/ 148 h 1414085"/>
              <a:gd name="connsiteX37" fmla="*/ 3287117 w 3799241"/>
              <a:gd name="connsiteY37" fmla="*/ 148 h 1414085"/>
              <a:gd name="connsiteX38" fmla="*/ 3287117 w 3799241"/>
              <a:gd name="connsiteY38" fmla="*/ 633856 h 1414085"/>
              <a:gd name="connsiteX39" fmla="*/ 3433424 w 3799241"/>
              <a:gd name="connsiteY39" fmla="*/ 633856 h 1414085"/>
              <a:gd name="connsiteX40" fmla="*/ 3433424 w 3799241"/>
              <a:gd name="connsiteY40" fmla="*/ 148 h 1414085"/>
              <a:gd name="connsiteX41" fmla="*/ 3458162 w 3799241"/>
              <a:gd name="connsiteY41" fmla="*/ 148 h 1414085"/>
              <a:gd name="connsiteX42" fmla="*/ 3458162 w 3799241"/>
              <a:gd name="connsiteY42" fmla="*/ 0 h 1414085"/>
              <a:gd name="connsiteX43" fmla="*/ 3580804 w 3799241"/>
              <a:gd name="connsiteY43" fmla="*/ 0 h 1414085"/>
              <a:gd name="connsiteX44" fmla="*/ 3659592 w 3799241"/>
              <a:gd name="connsiteY44" fmla="*/ 0 h 1414085"/>
              <a:gd name="connsiteX45" fmla="*/ 3662814 w 3799241"/>
              <a:gd name="connsiteY45" fmla="*/ 0 h 1414085"/>
              <a:gd name="connsiteX46" fmla="*/ 3799241 w 3799241"/>
              <a:gd name="connsiteY46" fmla="*/ 136427 h 1414085"/>
              <a:gd name="connsiteX47" fmla="*/ 3799241 w 3799241"/>
              <a:gd name="connsiteY47" fmla="*/ 1277658 h 1414085"/>
              <a:gd name="connsiteX48" fmla="*/ 3662814 w 3799241"/>
              <a:gd name="connsiteY48" fmla="*/ 1414085 h 1414085"/>
              <a:gd name="connsiteX49" fmla="*/ 3659592 w 3799241"/>
              <a:gd name="connsiteY49" fmla="*/ 1414085 h 1414085"/>
              <a:gd name="connsiteX50" fmla="*/ 3580804 w 3799241"/>
              <a:gd name="connsiteY50" fmla="*/ 1414085 h 1414085"/>
              <a:gd name="connsiteX51" fmla="*/ 263457 w 3799241"/>
              <a:gd name="connsiteY51" fmla="*/ 1414085 h 1414085"/>
              <a:gd name="connsiteX52" fmla="*/ 136427 w 3799241"/>
              <a:gd name="connsiteY52" fmla="*/ 1414085 h 1414085"/>
              <a:gd name="connsiteX53" fmla="*/ 0 w 3799241"/>
              <a:gd name="connsiteY53" fmla="*/ 1277658 h 1414085"/>
              <a:gd name="connsiteX54" fmla="*/ 0 w 3799241"/>
              <a:gd name="connsiteY54" fmla="*/ 136427 h 1414085"/>
              <a:gd name="connsiteX55" fmla="*/ 136427 w 3799241"/>
              <a:gd name="connsiteY55" fmla="*/ 0 h 1414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799241" h="1414085">
                <a:moveTo>
                  <a:pt x="136427" y="0"/>
                </a:moveTo>
                <a:lnTo>
                  <a:pt x="355418" y="148"/>
                </a:lnTo>
                <a:lnTo>
                  <a:pt x="355418" y="633856"/>
                </a:lnTo>
                <a:lnTo>
                  <a:pt x="501726" y="633856"/>
                </a:lnTo>
                <a:lnTo>
                  <a:pt x="501726" y="148"/>
                </a:lnTo>
                <a:lnTo>
                  <a:pt x="681161" y="148"/>
                </a:lnTo>
                <a:lnTo>
                  <a:pt x="681161" y="314661"/>
                </a:lnTo>
                <a:lnTo>
                  <a:pt x="827469" y="314661"/>
                </a:lnTo>
                <a:lnTo>
                  <a:pt x="827469" y="148"/>
                </a:lnTo>
                <a:lnTo>
                  <a:pt x="1006904" y="148"/>
                </a:lnTo>
                <a:lnTo>
                  <a:pt x="1006904" y="314661"/>
                </a:lnTo>
                <a:lnTo>
                  <a:pt x="1153212" y="314661"/>
                </a:lnTo>
                <a:lnTo>
                  <a:pt x="1153212" y="148"/>
                </a:lnTo>
                <a:lnTo>
                  <a:pt x="1332647" y="148"/>
                </a:lnTo>
                <a:lnTo>
                  <a:pt x="1332647" y="633856"/>
                </a:lnTo>
                <a:lnTo>
                  <a:pt x="1478961" y="633856"/>
                </a:lnTo>
                <a:lnTo>
                  <a:pt x="1478961" y="148"/>
                </a:lnTo>
                <a:lnTo>
                  <a:pt x="1658390" y="148"/>
                </a:lnTo>
                <a:lnTo>
                  <a:pt x="1658390" y="314661"/>
                </a:lnTo>
                <a:lnTo>
                  <a:pt x="1804704" y="314661"/>
                </a:lnTo>
                <a:lnTo>
                  <a:pt x="1804704" y="148"/>
                </a:lnTo>
                <a:lnTo>
                  <a:pt x="1984139" y="148"/>
                </a:lnTo>
                <a:lnTo>
                  <a:pt x="1984139" y="314661"/>
                </a:lnTo>
                <a:lnTo>
                  <a:pt x="2130447" y="314661"/>
                </a:lnTo>
                <a:lnTo>
                  <a:pt x="2130447" y="148"/>
                </a:lnTo>
                <a:lnTo>
                  <a:pt x="2309882" y="148"/>
                </a:lnTo>
                <a:lnTo>
                  <a:pt x="2309882" y="633856"/>
                </a:lnTo>
                <a:lnTo>
                  <a:pt x="2456189" y="633856"/>
                </a:lnTo>
                <a:lnTo>
                  <a:pt x="2456189" y="148"/>
                </a:lnTo>
                <a:lnTo>
                  <a:pt x="2635625" y="148"/>
                </a:lnTo>
                <a:lnTo>
                  <a:pt x="2635625" y="314661"/>
                </a:lnTo>
                <a:lnTo>
                  <a:pt x="2781938" y="314661"/>
                </a:lnTo>
                <a:lnTo>
                  <a:pt x="2781938" y="148"/>
                </a:lnTo>
                <a:lnTo>
                  <a:pt x="2961368" y="148"/>
                </a:lnTo>
                <a:lnTo>
                  <a:pt x="2961368" y="314661"/>
                </a:lnTo>
                <a:lnTo>
                  <a:pt x="3107681" y="314661"/>
                </a:lnTo>
                <a:lnTo>
                  <a:pt x="3107681" y="148"/>
                </a:lnTo>
                <a:lnTo>
                  <a:pt x="3287117" y="148"/>
                </a:lnTo>
                <a:lnTo>
                  <a:pt x="3287117" y="633856"/>
                </a:lnTo>
                <a:lnTo>
                  <a:pt x="3433424" y="633856"/>
                </a:lnTo>
                <a:lnTo>
                  <a:pt x="3433424" y="148"/>
                </a:lnTo>
                <a:lnTo>
                  <a:pt x="3458162" y="148"/>
                </a:lnTo>
                <a:lnTo>
                  <a:pt x="3458162" y="0"/>
                </a:lnTo>
                <a:lnTo>
                  <a:pt x="3580804" y="0"/>
                </a:lnTo>
                <a:lnTo>
                  <a:pt x="3659592" y="0"/>
                </a:lnTo>
                <a:lnTo>
                  <a:pt x="3662814" y="0"/>
                </a:lnTo>
                <a:cubicBezTo>
                  <a:pt x="3738161" y="0"/>
                  <a:pt x="3799241" y="61080"/>
                  <a:pt x="3799241" y="136427"/>
                </a:cubicBezTo>
                <a:lnTo>
                  <a:pt x="3799241" y="1277658"/>
                </a:lnTo>
                <a:cubicBezTo>
                  <a:pt x="3799241" y="1353005"/>
                  <a:pt x="3738161" y="1414085"/>
                  <a:pt x="3662814" y="1414085"/>
                </a:cubicBezTo>
                <a:lnTo>
                  <a:pt x="3659592" y="1414085"/>
                </a:lnTo>
                <a:lnTo>
                  <a:pt x="3580804" y="1414085"/>
                </a:lnTo>
                <a:lnTo>
                  <a:pt x="263457" y="1414085"/>
                </a:lnTo>
                <a:lnTo>
                  <a:pt x="136427" y="1414085"/>
                </a:lnTo>
                <a:cubicBezTo>
                  <a:pt x="61080" y="1414085"/>
                  <a:pt x="0" y="1353005"/>
                  <a:pt x="0" y="1277658"/>
                </a:cubicBezTo>
                <a:lnTo>
                  <a:pt x="0" y="136427"/>
                </a:lnTo>
                <a:cubicBezTo>
                  <a:pt x="0" y="61080"/>
                  <a:pt x="61080" y="0"/>
                  <a:pt x="13642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21" name="Freeform 20">
            <a:extLst>
              <a:ext uri="{FF2B5EF4-FFF2-40B4-BE49-F238E27FC236}">
                <a16:creationId xmlns:a16="http://schemas.microsoft.com/office/drawing/2014/main" id="{52BC68A1-6AA0-1A4C-8936-7ABBD0AFA0D9}"/>
              </a:ext>
            </a:extLst>
          </p:cNvPr>
          <p:cNvSpPr>
            <a:spLocks noChangeAspect="1"/>
          </p:cNvSpPr>
          <p:nvPr/>
        </p:nvSpPr>
        <p:spPr>
          <a:xfrm rot="16200000">
            <a:off x="9119450" y="2455495"/>
            <a:ext cx="580292" cy="148053"/>
          </a:xfrm>
          <a:custGeom>
            <a:avLst/>
            <a:gdLst>
              <a:gd name="connsiteX0" fmla="*/ 426362 w 501760"/>
              <a:gd name="connsiteY0" fmla="*/ 1726 h 128016"/>
              <a:gd name="connsiteX1" fmla="*/ 481000 w 501760"/>
              <a:gd name="connsiteY1" fmla="*/ 1726 h 128016"/>
              <a:gd name="connsiteX2" fmla="*/ 501760 w 501760"/>
              <a:gd name="connsiteY2" fmla="*/ 22486 h 128016"/>
              <a:gd name="connsiteX3" fmla="*/ 501760 w 501760"/>
              <a:gd name="connsiteY3" fmla="*/ 105528 h 128016"/>
              <a:gd name="connsiteX4" fmla="*/ 481000 w 501760"/>
              <a:gd name="connsiteY4" fmla="*/ 126288 h 128016"/>
              <a:gd name="connsiteX5" fmla="*/ 426362 w 501760"/>
              <a:gd name="connsiteY5" fmla="*/ 126288 h 128016"/>
              <a:gd name="connsiteX6" fmla="*/ 76666 w 501760"/>
              <a:gd name="connsiteY6" fmla="*/ 0 h 128016"/>
              <a:gd name="connsiteX7" fmla="*/ 76666 w 501760"/>
              <a:gd name="connsiteY7" fmla="*/ 3557 h 128016"/>
              <a:gd name="connsiteX8" fmla="*/ 81085 w 501760"/>
              <a:gd name="connsiteY8" fmla="*/ 1726 h 128016"/>
              <a:gd name="connsiteX9" fmla="*/ 389786 w 501760"/>
              <a:gd name="connsiteY9" fmla="*/ 1726 h 128016"/>
              <a:gd name="connsiteX10" fmla="*/ 389786 w 501760"/>
              <a:gd name="connsiteY10" fmla="*/ 126288 h 128016"/>
              <a:gd name="connsiteX11" fmla="*/ 81085 w 501760"/>
              <a:gd name="connsiteY11" fmla="*/ 126288 h 128016"/>
              <a:gd name="connsiteX12" fmla="*/ 76666 w 501760"/>
              <a:gd name="connsiteY12" fmla="*/ 124458 h 128016"/>
              <a:gd name="connsiteX13" fmla="*/ 76666 w 501760"/>
              <a:gd name="connsiteY13" fmla="*/ 128016 h 128016"/>
              <a:gd name="connsiteX14" fmla="*/ 0 w 501760"/>
              <a:gd name="connsiteY14" fmla="*/ 64008 h 12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1760" h="128016">
                <a:moveTo>
                  <a:pt x="426362" y="1726"/>
                </a:moveTo>
                <a:lnTo>
                  <a:pt x="481000" y="1726"/>
                </a:lnTo>
                <a:cubicBezTo>
                  <a:pt x="492465" y="1726"/>
                  <a:pt x="501760" y="11021"/>
                  <a:pt x="501760" y="22486"/>
                </a:cubicBezTo>
                <a:lnTo>
                  <a:pt x="501760" y="105528"/>
                </a:lnTo>
                <a:cubicBezTo>
                  <a:pt x="501760" y="116993"/>
                  <a:pt x="492465" y="126288"/>
                  <a:pt x="481000" y="126288"/>
                </a:cubicBezTo>
                <a:lnTo>
                  <a:pt x="426362" y="126288"/>
                </a:lnTo>
                <a:close/>
                <a:moveTo>
                  <a:pt x="76666" y="0"/>
                </a:moveTo>
                <a:lnTo>
                  <a:pt x="76666" y="3557"/>
                </a:lnTo>
                <a:lnTo>
                  <a:pt x="81085" y="1726"/>
                </a:lnTo>
                <a:lnTo>
                  <a:pt x="389786" y="1726"/>
                </a:lnTo>
                <a:lnTo>
                  <a:pt x="389786" y="126288"/>
                </a:lnTo>
                <a:lnTo>
                  <a:pt x="81085" y="126288"/>
                </a:lnTo>
                <a:lnTo>
                  <a:pt x="76666" y="124458"/>
                </a:lnTo>
                <a:lnTo>
                  <a:pt x="76666" y="128016"/>
                </a:lnTo>
                <a:lnTo>
                  <a:pt x="0" y="6400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22" name="Freeform 21">
            <a:extLst>
              <a:ext uri="{FF2B5EF4-FFF2-40B4-BE49-F238E27FC236}">
                <a16:creationId xmlns:a16="http://schemas.microsoft.com/office/drawing/2014/main" id="{BC07AFB2-56EE-9B4A-8BA4-9F243868B0B4}"/>
              </a:ext>
            </a:extLst>
          </p:cNvPr>
          <p:cNvSpPr/>
          <p:nvPr/>
        </p:nvSpPr>
        <p:spPr>
          <a:xfrm rot="19611889">
            <a:off x="9677811" y="3798443"/>
            <a:ext cx="521052" cy="526233"/>
          </a:xfrm>
          <a:custGeom>
            <a:avLst/>
            <a:gdLst>
              <a:gd name="connsiteX0" fmla="*/ 1947237 w 3523654"/>
              <a:gd name="connsiteY0" fmla="*/ 2868048 h 3558695"/>
              <a:gd name="connsiteX1" fmla="*/ 1543306 w 3523654"/>
              <a:gd name="connsiteY1" fmla="*/ 2952911 h 3558695"/>
              <a:gd name="connsiteX2" fmla="*/ 1628168 w 3523654"/>
              <a:gd name="connsiteY2" fmla="*/ 3356842 h 3558695"/>
              <a:gd name="connsiteX3" fmla="*/ 2032100 w 3523654"/>
              <a:gd name="connsiteY3" fmla="*/ 3271979 h 3558695"/>
              <a:gd name="connsiteX4" fmla="*/ 1947237 w 3523654"/>
              <a:gd name="connsiteY4" fmla="*/ 2868048 h 3558695"/>
              <a:gd name="connsiteX5" fmla="*/ 2031603 w 3523654"/>
              <a:gd name="connsiteY5" fmla="*/ 2738806 h 3558695"/>
              <a:gd name="connsiteX6" fmla="*/ 2161343 w 3523654"/>
              <a:gd name="connsiteY6" fmla="*/ 3356345 h 3558695"/>
              <a:gd name="connsiteX7" fmla="*/ 1543804 w 3523654"/>
              <a:gd name="connsiteY7" fmla="*/ 3486085 h 3558695"/>
              <a:gd name="connsiteX8" fmla="*/ 1414064 w 3523654"/>
              <a:gd name="connsiteY8" fmla="*/ 2868546 h 3558695"/>
              <a:gd name="connsiteX9" fmla="*/ 2031603 w 3523654"/>
              <a:gd name="connsiteY9" fmla="*/ 2738806 h 3558695"/>
              <a:gd name="connsiteX10" fmla="*/ 1422841 w 3523654"/>
              <a:gd name="connsiteY10" fmla="*/ 1926554 h 3558695"/>
              <a:gd name="connsiteX11" fmla="*/ 1018910 w 3523654"/>
              <a:gd name="connsiteY11" fmla="*/ 2011417 h 3558695"/>
              <a:gd name="connsiteX12" fmla="*/ 1103773 w 3523654"/>
              <a:gd name="connsiteY12" fmla="*/ 2415348 h 3558695"/>
              <a:gd name="connsiteX13" fmla="*/ 1507704 w 3523654"/>
              <a:gd name="connsiteY13" fmla="*/ 2330486 h 3558695"/>
              <a:gd name="connsiteX14" fmla="*/ 1422841 w 3523654"/>
              <a:gd name="connsiteY14" fmla="*/ 1926554 h 3558695"/>
              <a:gd name="connsiteX15" fmla="*/ 1507208 w 3523654"/>
              <a:gd name="connsiteY15" fmla="*/ 1797312 h 3558695"/>
              <a:gd name="connsiteX16" fmla="*/ 1636947 w 3523654"/>
              <a:gd name="connsiteY16" fmla="*/ 2414851 h 3558695"/>
              <a:gd name="connsiteX17" fmla="*/ 1019408 w 3523654"/>
              <a:gd name="connsiteY17" fmla="*/ 2544591 h 3558695"/>
              <a:gd name="connsiteX18" fmla="*/ 889668 w 3523654"/>
              <a:gd name="connsiteY18" fmla="*/ 1927052 h 3558695"/>
              <a:gd name="connsiteX19" fmla="*/ 1507208 w 3523654"/>
              <a:gd name="connsiteY19" fmla="*/ 1797312 h 3558695"/>
              <a:gd name="connsiteX20" fmla="*/ 489809 w 3523654"/>
              <a:gd name="connsiteY20" fmla="*/ 816007 h 3558695"/>
              <a:gd name="connsiteX21" fmla="*/ 576779 w 3523654"/>
              <a:gd name="connsiteY21" fmla="*/ 1229967 h 3558695"/>
              <a:gd name="connsiteX22" fmla="*/ 990739 w 3523654"/>
              <a:gd name="connsiteY22" fmla="*/ 1142997 h 3558695"/>
              <a:gd name="connsiteX23" fmla="*/ 1024945 w 3523654"/>
              <a:gd name="connsiteY23" fmla="*/ 1305816 h 3558695"/>
              <a:gd name="connsiteX24" fmla="*/ 610986 w 3523654"/>
              <a:gd name="connsiteY24" fmla="*/ 1392785 h 3558695"/>
              <a:gd name="connsiteX25" fmla="*/ 697955 w 3523654"/>
              <a:gd name="connsiteY25" fmla="*/ 1806745 h 3558695"/>
              <a:gd name="connsiteX26" fmla="*/ 535137 w 3523654"/>
              <a:gd name="connsiteY26" fmla="*/ 1840952 h 3558695"/>
              <a:gd name="connsiteX27" fmla="*/ 448167 w 3523654"/>
              <a:gd name="connsiteY27" fmla="*/ 1426992 h 3558695"/>
              <a:gd name="connsiteX28" fmla="*/ 34207 w 3523654"/>
              <a:gd name="connsiteY28" fmla="*/ 1513962 h 3558695"/>
              <a:gd name="connsiteX29" fmla="*/ 0 w 3523654"/>
              <a:gd name="connsiteY29" fmla="*/ 1351143 h 3558695"/>
              <a:gd name="connsiteX30" fmla="*/ 413960 w 3523654"/>
              <a:gd name="connsiteY30" fmla="*/ 1264174 h 3558695"/>
              <a:gd name="connsiteX31" fmla="*/ 326991 w 3523654"/>
              <a:gd name="connsiteY31" fmla="*/ 850214 h 3558695"/>
              <a:gd name="connsiteX32" fmla="*/ 2988518 w 3523654"/>
              <a:gd name="connsiteY32" fmla="*/ 1541968 h 3558695"/>
              <a:gd name="connsiteX33" fmla="*/ 3075488 w 3523654"/>
              <a:gd name="connsiteY33" fmla="*/ 1955928 h 3558695"/>
              <a:gd name="connsiteX34" fmla="*/ 3489447 w 3523654"/>
              <a:gd name="connsiteY34" fmla="*/ 1868959 h 3558695"/>
              <a:gd name="connsiteX35" fmla="*/ 3523654 w 3523654"/>
              <a:gd name="connsiteY35" fmla="*/ 2031777 h 3558695"/>
              <a:gd name="connsiteX36" fmla="*/ 3109694 w 3523654"/>
              <a:gd name="connsiteY36" fmla="*/ 2118747 h 3558695"/>
              <a:gd name="connsiteX37" fmla="*/ 3196664 w 3523654"/>
              <a:gd name="connsiteY37" fmla="*/ 2532707 h 3558695"/>
              <a:gd name="connsiteX38" fmla="*/ 3033845 w 3523654"/>
              <a:gd name="connsiteY38" fmla="*/ 2566913 h 3558695"/>
              <a:gd name="connsiteX39" fmla="*/ 2946876 w 3523654"/>
              <a:gd name="connsiteY39" fmla="*/ 2152954 h 3558695"/>
              <a:gd name="connsiteX40" fmla="*/ 2532916 w 3523654"/>
              <a:gd name="connsiteY40" fmla="*/ 2239923 h 3558695"/>
              <a:gd name="connsiteX41" fmla="*/ 2498709 w 3523654"/>
              <a:gd name="connsiteY41" fmla="*/ 2077105 h 3558695"/>
              <a:gd name="connsiteX42" fmla="*/ 2912669 w 3523654"/>
              <a:gd name="connsiteY42" fmla="*/ 1990135 h 3558695"/>
              <a:gd name="connsiteX43" fmla="*/ 2825700 w 3523654"/>
              <a:gd name="connsiteY43" fmla="*/ 1576175 h 3558695"/>
              <a:gd name="connsiteX44" fmla="*/ 1458540 w 3523654"/>
              <a:gd name="connsiteY44" fmla="*/ 197835 h 3558695"/>
              <a:gd name="connsiteX45" fmla="*/ 1545510 w 3523654"/>
              <a:gd name="connsiteY45" fmla="*/ 611795 h 3558695"/>
              <a:gd name="connsiteX46" fmla="*/ 1959470 w 3523654"/>
              <a:gd name="connsiteY46" fmla="*/ 524825 h 3558695"/>
              <a:gd name="connsiteX47" fmla="*/ 1993676 w 3523654"/>
              <a:gd name="connsiteY47" fmla="*/ 687644 h 3558695"/>
              <a:gd name="connsiteX48" fmla="*/ 1579717 w 3523654"/>
              <a:gd name="connsiteY48" fmla="*/ 774613 h 3558695"/>
              <a:gd name="connsiteX49" fmla="*/ 1666686 w 3523654"/>
              <a:gd name="connsiteY49" fmla="*/ 1188573 h 3558695"/>
              <a:gd name="connsiteX50" fmla="*/ 1503868 w 3523654"/>
              <a:gd name="connsiteY50" fmla="*/ 1222780 h 3558695"/>
              <a:gd name="connsiteX51" fmla="*/ 1416898 w 3523654"/>
              <a:gd name="connsiteY51" fmla="*/ 808820 h 3558695"/>
              <a:gd name="connsiteX52" fmla="*/ 1002938 w 3523654"/>
              <a:gd name="connsiteY52" fmla="*/ 895790 h 3558695"/>
              <a:gd name="connsiteX53" fmla="*/ 968731 w 3523654"/>
              <a:gd name="connsiteY53" fmla="*/ 732971 h 3558695"/>
              <a:gd name="connsiteX54" fmla="*/ 1382691 w 3523654"/>
              <a:gd name="connsiteY54" fmla="*/ 646001 h 3558695"/>
              <a:gd name="connsiteX55" fmla="*/ 1295722 w 3523654"/>
              <a:gd name="connsiteY55" fmla="*/ 232042 h 3558695"/>
              <a:gd name="connsiteX56" fmla="*/ 2644367 w 3523654"/>
              <a:gd name="connsiteY56" fmla="*/ 0 h 3558695"/>
              <a:gd name="connsiteX57" fmla="*/ 2948539 w 3523654"/>
              <a:gd name="connsiteY57" fmla="*/ 476033 h 3558695"/>
              <a:gd name="connsiteX58" fmla="*/ 2749374 w 3523654"/>
              <a:gd name="connsiteY58" fmla="*/ 476033 h 3558695"/>
              <a:gd name="connsiteX59" fmla="*/ 2745573 w 3523654"/>
              <a:gd name="connsiteY59" fmla="*/ 633637 h 3558695"/>
              <a:gd name="connsiteX60" fmla="*/ 1764918 w 3523654"/>
              <a:gd name="connsiteY60" fmla="*/ 2173085 h 3558695"/>
              <a:gd name="connsiteX61" fmla="*/ 1743428 w 3523654"/>
              <a:gd name="connsiteY61" fmla="*/ 1986642 h 3558695"/>
              <a:gd name="connsiteX62" fmla="*/ 2560737 w 3523654"/>
              <a:gd name="connsiteY62" fmla="*/ 591298 h 3558695"/>
              <a:gd name="connsiteX63" fmla="*/ 2562296 w 3523654"/>
              <a:gd name="connsiteY63" fmla="*/ 476033 h 3558695"/>
              <a:gd name="connsiteX64" fmla="*/ 2340194 w 3523654"/>
              <a:gd name="connsiteY64" fmla="*/ 476033 h 3558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523654" h="3558695">
                <a:moveTo>
                  <a:pt x="1947237" y="2868048"/>
                </a:moveTo>
                <a:cubicBezTo>
                  <a:pt x="1812260" y="2779940"/>
                  <a:pt x="1631414" y="2817934"/>
                  <a:pt x="1543306" y="2952911"/>
                </a:cubicBezTo>
                <a:cubicBezTo>
                  <a:pt x="1455197" y="3087888"/>
                  <a:pt x="1493191" y="3268734"/>
                  <a:pt x="1628168" y="3356842"/>
                </a:cubicBezTo>
                <a:cubicBezTo>
                  <a:pt x="1763145" y="3444951"/>
                  <a:pt x="1943991" y="3406956"/>
                  <a:pt x="2032100" y="3271979"/>
                </a:cubicBezTo>
                <a:cubicBezTo>
                  <a:pt x="2120208" y="3137002"/>
                  <a:pt x="2082214" y="2956157"/>
                  <a:pt x="1947237" y="2868048"/>
                </a:cubicBezTo>
                <a:close/>
                <a:moveTo>
                  <a:pt x="2031603" y="2738806"/>
                </a:moveTo>
                <a:cubicBezTo>
                  <a:pt x="2237959" y="2873508"/>
                  <a:pt x="2296045" y="3149990"/>
                  <a:pt x="2161343" y="3356345"/>
                </a:cubicBezTo>
                <a:cubicBezTo>
                  <a:pt x="2026641" y="3562701"/>
                  <a:pt x="1750159" y="3620787"/>
                  <a:pt x="1543804" y="3486085"/>
                </a:cubicBezTo>
                <a:cubicBezTo>
                  <a:pt x="1337448" y="3351383"/>
                  <a:pt x="1279362" y="3074901"/>
                  <a:pt x="1414064" y="2868546"/>
                </a:cubicBezTo>
                <a:cubicBezTo>
                  <a:pt x="1548766" y="2662190"/>
                  <a:pt x="1825248" y="2604104"/>
                  <a:pt x="2031603" y="2738806"/>
                </a:cubicBezTo>
                <a:close/>
                <a:moveTo>
                  <a:pt x="1422841" y="1926554"/>
                </a:moveTo>
                <a:cubicBezTo>
                  <a:pt x="1287864" y="1838446"/>
                  <a:pt x="1107019" y="1876440"/>
                  <a:pt x="1018910" y="2011417"/>
                </a:cubicBezTo>
                <a:cubicBezTo>
                  <a:pt x="930801" y="2146394"/>
                  <a:pt x="968796" y="2327240"/>
                  <a:pt x="1103773" y="2415348"/>
                </a:cubicBezTo>
                <a:cubicBezTo>
                  <a:pt x="1238750" y="2503457"/>
                  <a:pt x="1419596" y="2465462"/>
                  <a:pt x="1507704" y="2330486"/>
                </a:cubicBezTo>
                <a:cubicBezTo>
                  <a:pt x="1595813" y="2195509"/>
                  <a:pt x="1557818" y="2014663"/>
                  <a:pt x="1422841" y="1926554"/>
                </a:cubicBezTo>
                <a:close/>
                <a:moveTo>
                  <a:pt x="1507208" y="1797312"/>
                </a:moveTo>
                <a:cubicBezTo>
                  <a:pt x="1713563" y="1932014"/>
                  <a:pt x="1771650" y="2208496"/>
                  <a:pt x="1636947" y="2414851"/>
                </a:cubicBezTo>
                <a:cubicBezTo>
                  <a:pt x="1502245" y="2621207"/>
                  <a:pt x="1225764" y="2679293"/>
                  <a:pt x="1019408" y="2544591"/>
                </a:cubicBezTo>
                <a:cubicBezTo>
                  <a:pt x="813053" y="2409889"/>
                  <a:pt x="754966" y="2133408"/>
                  <a:pt x="889668" y="1927052"/>
                </a:cubicBezTo>
                <a:cubicBezTo>
                  <a:pt x="1024370" y="1720697"/>
                  <a:pt x="1300852" y="1662610"/>
                  <a:pt x="1507208" y="1797312"/>
                </a:cubicBezTo>
                <a:close/>
                <a:moveTo>
                  <a:pt x="489809" y="816007"/>
                </a:moveTo>
                <a:lnTo>
                  <a:pt x="576779" y="1229967"/>
                </a:lnTo>
                <a:lnTo>
                  <a:pt x="990739" y="1142997"/>
                </a:lnTo>
                <a:lnTo>
                  <a:pt x="1024945" y="1305816"/>
                </a:lnTo>
                <a:lnTo>
                  <a:pt x="610986" y="1392785"/>
                </a:lnTo>
                <a:lnTo>
                  <a:pt x="697955" y="1806745"/>
                </a:lnTo>
                <a:lnTo>
                  <a:pt x="535137" y="1840952"/>
                </a:lnTo>
                <a:lnTo>
                  <a:pt x="448167" y="1426992"/>
                </a:lnTo>
                <a:lnTo>
                  <a:pt x="34207" y="1513962"/>
                </a:lnTo>
                <a:lnTo>
                  <a:pt x="0" y="1351143"/>
                </a:lnTo>
                <a:lnTo>
                  <a:pt x="413960" y="1264174"/>
                </a:lnTo>
                <a:lnTo>
                  <a:pt x="326991" y="850214"/>
                </a:lnTo>
                <a:close/>
                <a:moveTo>
                  <a:pt x="2988518" y="1541968"/>
                </a:moveTo>
                <a:lnTo>
                  <a:pt x="3075488" y="1955928"/>
                </a:lnTo>
                <a:lnTo>
                  <a:pt x="3489447" y="1868959"/>
                </a:lnTo>
                <a:lnTo>
                  <a:pt x="3523654" y="2031777"/>
                </a:lnTo>
                <a:lnTo>
                  <a:pt x="3109694" y="2118747"/>
                </a:lnTo>
                <a:lnTo>
                  <a:pt x="3196664" y="2532707"/>
                </a:lnTo>
                <a:lnTo>
                  <a:pt x="3033845" y="2566913"/>
                </a:lnTo>
                <a:lnTo>
                  <a:pt x="2946876" y="2152954"/>
                </a:lnTo>
                <a:lnTo>
                  <a:pt x="2532916" y="2239923"/>
                </a:lnTo>
                <a:lnTo>
                  <a:pt x="2498709" y="2077105"/>
                </a:lnTo>
                <a:lnTo>
                  <a:pt x="2912669" y="1990135"/>
                </a:lnTo>
                <a:lnTo>
                  <a:pt x="2825700" y="1576175"/>
                </a:lnTo>
                <a:close/>
                <a:moveTo>
                  <a:pt x="1458540" y="197835"/>
                </a:moveTo>
                <a:lnTo>
                  <a:pt x="1545510" y="611795"/>
                </a:lnTo>
                <a:lnTo>
                  <a:pt x="1959470" y="524825"/>
                </a:lnTo>
                <a:lnTo>
                  <a:pt x="1993676" y="687644"/>
                </a:lnTo>
                <a:lnTo>
                  <a:pt x="1579717" y="774613"/>
                </a:lnTo>
                <a:lnTo>
                  <a:pt x="1666686" y="1188573"/>
                </a:lnTo>
                <a:lnTo>
                  <a:pt x="1503868" y="1222780"/>
                </a:lnTo>
                <a:lnTo>
                  <a:pt x="1416898" y="808820"/>
                </a:lnTo>
                <a:lnTo>
                  <a:pt x="1002938" y="895790"/>
                </a:lnTo>
                <a:lnTo>
                  <a:pt x="968731" y="732971"/>
                </a:lnTo>
                <a:lnTo>
                  <a:pt x="1382691" y="646001"/>
                </a:lnTo>
                <a:lnTo>
                  <a:pt x="1295722" y="232042"/>
                </a:lnTo>
                <a:close/>
                <a:moveTo>
                  <a:pt x="2644367" y="0"/>
                </a:moveTo>
                <a:lnTo>
                  <a:pt x="2948539" y="476033"/>
                </a:lnTo>
                <a:lnTo>
                  <a:pt x="2749374" y="476033"/>
                </a:lnTo>
                <a:lnTo>
                  <a:pt x="2745573" y="633637"/>
                </a:lnTo>
                <a:cubicBezTo>
                  <a:pt x="2694659" y="1444543"/>
                  <a:pt x="2293534" y="2074235"/>
                  <a:pt x="1764918" y="2173085"/>
                </a:cubicBezTo>
                <a:lnTo>
                  <a:pt x="1743428" y="1986642"/>
                </a:lnTo>
                <a:cubicBezTo>
                  <a:pt x="2190578" y="1895510"/>
                  <a:pt x="2525524" y="1323677"/>
                  <a:pt x="2560737" y="591298"/>
                </a:cubicBezTo>
                <a:lnTo>
                  <a:pt x="2562296" y="476033"/>
                </a:lnTo>
                <a:lnTo>
                  <a:pt x="2340194" y="47603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Tree>
    <p:extLst>
      <p:ext uri="{BB962C8B-B14F-4D97-AF65-F5344CB8AC3E}">
        <p14:creationId xmlns:p14="http://schemas.microsoft.com/office/powerpoint/2010/main" val="28846832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1810BC-C398-A24A-B7FF-96E238EFC192}"/>
              </a:ext>
            </a:extLst>
          </p:cNvPr>
          <p:cNvSpPr>
            <a:spLocks noGrp="1"/>
          </p:cNvSpPr>
          <p:nvPr>
            <p:ph type="body" sz="quarter" idx="10"/>
          </p:nvPr>
        </p:nvSpPr>
        <p:spPr/>
        <p:txBody>
          <a:bodyPr/>
          <a:lstStyle/>
          <a:p>
            <a:r>
              <a:rPr lang="en-US" dirty="0"/>
              <a:t>Questions</a:t>
            </a:r>
          </a:p>
        </p:txBody>
      </p:sp>
      <p:sp>
        <p:nvSpPr>
          <p:cNvPr id="3" name="Slide Number Placeholder 2">
            <a:extLst>
              <a:ext uri="{FF2B5EF4-FFF2-40B4-BE49-F238E27FC236}">
                <a16:creationId xmlns:a16="http://schemas.microsoft.com/office/drawing/2014/main" id="{399EC018-A63D-C442-BDC6-658AF7F00DF5}"/>
              </a:ext>
            </a:extLst>
          </p:cNvPr>
          <p:cNvSpPr>
            <a:spLocks noGrp="1"/>
          </p:cNvSpPr>
          <p:nvPr>
            <p:ph type="sldNum" sz="quarter" idx="4"/>
          </p:nvPr>
        </p:nvSpPr>
        <p:spPr/>
        <p:txBody>
          <a:bodyPr/>
          <a:lstStyle/>
          <a:p>
            <a:fld id="{E1123682-AE52-6D45-865E-F1EB3AE0E340}" type="slidenum">
              <a:rPr lang="en-US" smtClean="0"/>
              <a:pPr/>
              <a:t>31</a:t>
            </a:fld>
            <a:endParaRPr lang="en-US" dirty="0"/>
          </a:p>
        </p:txBody>
      </p:sp>
    </p:spTree>
    <p:extLst>
      <p:ext uri="{BB962C8B-B14F-4D97-AF65-F5344CB8AC3E}">
        <p14:creationId xmlns:p14="http://schemas.microsoft.com/office/powerpoint/2010/main" val="24388650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33F456E-075A-7F4E-94A1-71EFBE152234}"/>
              </a:ext>
            </a:extLst>
          </p:cNvPr>
          <p:cNvSpPr>
            <a:spLocks noGrp="1"/>
          </p:cNvSpPr>
          <p:nvPr>
            <p:ph type="body" sz="quarter" idx="10"/>
          </p:nvPr>
        </p:nvSpPr>
        <p:spPr/>
        <p:txBody>
          <a:bodyPr/>
          <a:lstStyle/>
          <a:p>
            <a:r>
              <a:rPr lang="en-US" dirty="0"/>
              <a:t>Thank YOU!</a:t>
            </a:r>
          </a:p>
        </p:txBody>
      </p:sp>
      <p:sp>
        <p:nvSpPr>
          <p:cNvPr id="3" name="Slide Number Placeholder 2">
            <a:extLst>
              <a:ext uri="{FF2B5EF4-FFF2-40B4-BE49-F238E27FC236}">
                <a16:creationId xmlns:a16="http://schemas.microsoft.com/office/drawing/2014/main" id="{3CAB5BC0-C310-8E47-A2AD-2841E14A1931}"/>
              </a:ext>
            </a:extLst>
          </p:cNvPr>
          <p:cNvSpPr>
            <a:spLocks noGrp="1"/>
          </p:cNvSpPr>
          <p:nvPr>
            <p:ph type="sldNum" sz="quarter" idx="4"/>
          </p:nvPr>
        </p:nvSpPr>
        <p:spPr/>
        <p:txBody>
          <a:bodyPr/>
          <a:lstStyle/>
          <a:p>
            <a:fld id="{E1123682-AE52-6D45-865E-F1EB3AE0E340}" type="slidenum">
              <a:rPr lang="en-US" smtClean="0"/>
              <a:pPr/>
              <a:t>32</a:t>
            </a:fld>
            <a:endParaRPr lang="en-US" dirty="0"/>
          </a:p>
        </p:txBody>
      </p:sp>
    </p:spTree>
    <p:extLst>
      <p:ext uri="{BB962C8B-B14F-4D97-AF65-F5344CB8AC3E}">
        <p14:creationId xmlns:p14="http://schemas.microsoft.com/office/powerpoint/2010/main" val="5873082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301C027-E773-DB4E-AA3A-02208B77EAB3}"/>
              </a:ext>
            </a:extLst>
          </p:cNvPr>
          <p:cNvSpPr>
            <a:spLocks noGrp="1"/>
          </p:cNvSpPr>
          <p:nvPr>
            <p:ph type="body" sz="quarter" idx="10"/>
          </p:nvPr>
        </p:nvSpPr>
        <p:spPr/>
        <p:txBody>
          <a:bodyPr/>
          <a:lstStyle/>
          <a:p>
            <a:r>
              <a:rPr lang="en-US" dirty="0"/>
              <a:t>First, a Quick Introduction</a:t>
            </a:r>
          </a:p>
        </p:txBody>
      </p:sp>
      <p:sp>
        <p:nvSpPr>
          <p:cNvPr id="3" name="Slide Number Placeholder 2">
            <a:extLst>
              <a:ext uri="{FF2B5EF4-FFF2-40B4-BE49-F238E27FC236}">
                <a16:creationId xmlns:a16="http://schemas.microsoft.com/office/drawing/2014/main" id="{E7335BF8-35AF-354E-AD37-A392112DDD60}"/>
              </a:ext>
            </a:extLst>
          </p:cNvPr>
          <p:cNvSpPr>
            <a:spLocks noGrp="1"/>
          </p:cNvSpPr>
          <p:nvPr>
            <p:ph type="sldNum" sz="quarter" idx="4"/>
          </p:nvPr>
        </p:nvSpPr>
        <p:spPr/>
        <p:txBody>
          <a:bodyPr/>
          <a:lstStyle/>
          <a:p>
            <a:fld id="{E1123682-AE52-6D45-865E-F1EB3AE0E340}" type="slidenum">
              <a:rPr lang="en-US" smtClean="0"/>
              <a:pPr/>
              <a:t>4</a:t>
            </a:fld>
            <a:endParaRPr lang="en-US" dirty="0"/>
          </a:p>
        </p:txBody>
      </p:sp>
    </p:spTree>
    <p:extLst>
      <p:ext uri="{BB962C8B-B14F-4D97-AF65-F5344CB8AC3E}">
        <p14:creationId xmlns:p14="http://schemas.microsoft.com/office/powerpoint/2010/main" val="31473465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6222666" y="0"/>
            <a:ext cx="5969333" cy="6858000"/>
          </a:xfrm>
          <a:prstGeom prst="rect">
            <a:avLst/>
          </a:prstGeom>
          <a:solidFill>
            <a:srgbClr val="091B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2" name="Slide Number Placeholder 1"/>
          <p:cNvSpPr>
            <a:spLocks noGrp="1"/>
          </p:cNvSpPr>
          <p:nvPr>
            <p:ph type="sldNum" sz="quarter" idx="4"/>
          </p:nvPr>
        </p:nvSpPr>
        <p:spPr/>
        <p:txBody>
          <a:bodyPr/>
          <a:lstStyle/>
          <a:p>
            <a:fld id="{8F26C51A-D5C8-414C-B110-B45114A5F481}" type="slidenum">
              <a:rPr lang="en-US" smtClean="0"/>
              <a:pPr/>
              <a:t>5</a:t>
            </a:fld>
            <a:endParaRPr lang="en-US"/>
          </a:p>
        </p:txBody>
      </p:sp>
      <p:sp>
        <p:nvSpPr>
          <p:cNvPr id="12" name="Oval 11"/>
          <p:cNvSpPr/>
          <p:nvPr/>
        </p:nvSpPr>
        <p:spPr>
          <a:xfrm>
            <a:off x="6664545" y="709432"/>
            <a:ext cx="339132" cy="33913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1</a:t>
            </a:r>
          </a:p>
        </p:txBody>
      </p:sp>
      <p:sp>
        <p:nvSpPr>
          <p:cNvPr id="21" name="Oval 20"/>
          <p:cNvSpPr/>
          <p:nvPr/>
        </p:nvSpPr>
        <p:spPr>
          <a:xfrm>
            <a:off x="6664545" y="1476908"/>
            <a:ext cx="339132" cy="339132"/>
          </a:xfrm>
          <a:prstGeom prst="ellipse">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2</a:t>
            </a:r>
          </a:p>
        </p:txBody>
      </p:sp>
      <p:sp>
        <p:nvSpPr>
          <p:cNvPr id="22" name="Oval 21"/>
          <p:cNvSpPr/>
          <p:nvPr/>
        </p:nvSpPr>
        <p:spPr>
          <a:xfrm>
            <a:off x="6664545" y="2508131"/>
            <a:ext cx="339132" cy="339132"/>
          </a:xfrm>
          <a:prstGeom prst="ellipse">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3</a:t>
            </a:r>
          </a:p>
        </p:txBody>
      </p:sp>
      <p:sp>
        <p:nvSpPr>
          <p:cNvPr id="23" name="Oval 22"/>
          <p:cNvSpPr/>
          <p:nvPr/>
        </p:nvSpPr>
        <p:spPr>
          <a:xfrm>
            <a:off x="6664545" y="3539354"/>
            <a:ext cx="339132" cy="33913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4</a:t>
            </a:r>
          </a:p>
        </p:txBody>
      </p:sp>
      <p:sp>
        <p:nvSpPr>
          <p:cNvPr id="24" name="Oval 23"/>
          <p:cNvSpPr/>
          <p:nvPr/>
        </p:nvSpPr>
        <p:spPr>
          <a:xfrm>
            <a:off x="6664545" y="4570578"/>
            <a:ext cx="339132" cy="33913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5</a:t>
            </a:r>
          </a:p>
        </p:txBody>
      </p:sp>
      <p:sp>
        <p:nvSpPr>
          <p:cNvPr id="17" name="TextBox 16"/>
          <p:cNvSpPr txBox="1"/>
          <p:nvPr/>
        </p:nvSpPr>
        <p:spPr>
          <a:xfrm>
            <a:off x="7141292" y="676775"/>
            <a:ext cx="4441108" cy="855558"/>
          </a:xfrm>
          <a:prstGeom prst="rect">
            <a:avLst/>
          </a:prstGeom>
          <a:noFill/>
        </p:spPr>
        <p:txBody>
          <a:bodyPr wrap="square" rtlCol="0">
            <a:noAutofit/>
          </a:bodyPr>
          <a:lstStyle/>
          <a:p>
            <a:pPr>
              <a:buClr>
                <a:schemeClr val="accent1"/>
              </a:buClr>
              <a:buSzPct val="70000"/>
            </a:pPr>
            <a:r>
              <a:rPr lang="en-US" b="1" spc="346" dirty="0">
                <a:solidFill>
                  <a:schemeClr val="bg1"/>
                </a:solidFill>
              </a:rPr>
              <a:t>SENIOR PRINCIPAL FOR WEST MONROE</a:t>
            </a:r>
          </a:p>
        </p:txBody>
      </p:sp>
      <p:sp>
        <p:nvSpPr>
          <p:cNvPr id="29" name="TextBox 28"/>
          <p:cNvSpPr txBox="1"/>
          <p:nvPr/>
        </p:nvSpPr>
        <p:spPr>
          <a:xfrm>
            <a:off x="7141292" y="1413056"/>
            <a:ext cx="4441107" cy="1009205"/>
          </a:xfrm>
          <a:prstGeom prst="rect">
            <a:avLst/>
          </a:prstGeom>
          <a:noFill/>
        </p:spPr>
        <p:txBody>
          <a:bodyPr wrap="square" rtlCol="0">
            <a:noAutofit/>
          </a:bodyPr>
          <a:lstStyle/>
          <a:p>
            <a:pPr>
              <a:buClr>
                <a:schemeClr val="accent1"/>
              </a:buClr>
              <a:buSzPct val="70000"/>
            </a:pPr>
            <a:r>
              <a:rPr lang="en-US" b="1" spc="346" dirty="0">
                <a:solidFill>
                  <a:schemeClr val="bg1"/>
                </a:solidFill>
              </a:rPr>
              <a:t>DEVELOPING SOFTWARE SINCE 2011</a:t>
            </a:r>
            <a:endParaRPr lang="en-US" sz="1600" dirty="0">
              <a:solidFill>
                <a:schemeClr val="bg1"/>
              </a:solidFill>
            </a:endParaRPr>
          </a:p>
        </p:txBody>
      </p:sp>
      <p:sp>
        <p:nvSpPr>
          <p:cNvPr id="30" name="TextBox 29"/>
          <p:cNvSpPr txBox="1"/>
          <p:nvPr/>
        </p:nvSpPr>
        <p:spPr>
          <a:xfrm>
            <a:off x="7141293" y="2422260"/>
            <a:ext cx="4466786" cy="892919"/>
          </a:xfrm>
          <a:prstGeom prst="rect">
            <a:avLst/>
          </a:prstGeom>
          <a:noFill/>
        </p:spPr>
        <p:txBody>
          <a:bodyPr wrap="square" rtlCol="0">
            <a:noAutofit/>
          </a:bodyPr>
          <a:lstStyle/>
          <a:p>
            <a:pPr>
              <a:buClr>
                <a:schemeClr val="accent1"/>
              </a:buClr>
              <a:buSzPct val="70000"/>
            </a:pPr>
            <a:r>
              <a:rPr lang="en-US" b="1" spc="346" dirty="0">
                <a:solidFill>
                  <a:schemeClr val="bg1"/>
                </a:solidFill>
              </a:rPr>
              <a:t>STARTED AS A DBA – NOW A DEVELOPER</a:t>
            </a:r>
          </a:p>
        </p:txBody>
      </p:sp>
      <p:sp>
        <p:nvSpPr>
          <p:cNvPr id="31" name="TextBox 30"/>
          <p:cNvSpPr txBox="1"/>
          <p:nvPr/>
        </p:nvSpPr>
        <p:spPr>
          <a:xfrm>
            <a:off x="7141292" y="3481924"/>
            <a:ext cx="4466785" cy="875623"/>
          </a:xfrm>
          <a:prstGeom prst="rect">
            <a:avLst/>
          </a:prstGeom>
          <a:noFill/>
        </p:spPr>
        <p:txBody>
          <a:bodyPr wrap="square" rtlCol="0">
            <a:noAutofit/>
          </a:bodyPr>
          <a:lstStyle/>
          <a:p>
            <a:pPr>
              <a:buClr>
                <a:schemeClr val="accent1"/>
              </a:buClr>
              <a:buSzPct val="70000"/>
            </a:pPr>
            <a:r>
              <a:rPr lang="en-US" b="1" spc="346" dirty="0">
                <a:solidFill>
                  <a:schemeClr val="bg1"/>
                </a:solidFill>
              </a:rPr>
              <a:t>PRIMARY EXPERIENCE WITH MICROSOFT TECHNOLOGIES</a:t>
            </a:r>
          </a:p>
        </p:txBody>
      </p:sp>
      <p:sp>
        <p:nvSpPr>
          <p:cNvPr id="32" name="TextBox 31"/>
          <p:cNvSpPr txBox="1"/>
          <p:nvPr/>
        </p:nvSpPr>
        <p:spPr>
          <a:xfrm>
            <a:off x="7141293" y="4550763"/>
            <a:ext cx="4441106" cy="866445"/>
          </a:xfrm>
          <a:prstGeom prst="rect">
            <a:avLst/>
          </a:prstGeom>
          <a:noFill/>
        </p:spPr>
        <p:txBody>
          <a:bodyPr wrap="square" rtlCol="0">
            <a:noAutofit/>
          </a:bodyPr>
          <a:lstStyle/>
          <a:p>
            <a:pPr>
              <a:buClr>
                <a:schemeClr val="accent1"/>
              </a:buClr>
              <a:buSzPct val="70000"/>
            </a:pPr>
            <a:r>
              <a:rPr lang="en-US" b="1" spc="346" dirty="0">
                <a:solidFill>
                  <a:schemeClr val="bg1"/>
                </a:solidFill>
              </a:rPr>
              <a:t>ALSO A USA HOCKEY REFEREE</a:t>
            </a:r>
          </a:p>
        </p:txBody>
      </p:sp>
      <p:pic>
        <p:nvPicPr>
          <p:cNvPr id="16" name="Content Placeholder 8">
            <a:extLst>
              <a:ext uri="{FF2B5EF4-FFF2-40B4-BE49-F238E27FC236}">
                <a16:creationId xmlns:a16="http://schemas.microsoft.com/office/drawing/2014/main" id="{B9254675-B28D-1946-A31F-EFE54235C474}"/>
              </a:ext>
            </a:extLst>
          </p:cNvPr>
          <p:cNvPicPr>
            <a:picLocks noChangeAspect="1"/>
          </p:cNvPicPr>
          <p:nvPr/>
        </p:nvPicPr>
        <p:blipFill>
          <a:blip r:embed="rId3"/>
          <a:stretch>
            <a:fillRect/>
          </a:stretch>
        </p:blipFill>
        <p:spPr>
          <a:xfrm>
            <a:off x="1367540" y="1413056"/>
            <a:ext cx="3542959" cy="2838430"/>
          </a:xfrm>
          <a:prstGeom prst="rect">
            <a:avLst/>
          </a:prstGeom>
        </p:spPr>
      </p:pic>
      <p:sp>
        <p:nvSpPr>
          <p:cNvPr id="3" name="TextBox 2">
            <a:extLst>
              <a:ext uri="{FF2B5EF4-FFF2-40B4-BE49-F238E27FC236}">
                <a16:creationId xmlns:a16="http://schemas.microsoft.com/office/drawing/2014/main" id="{51A9F056-A327-774F-910A-4324256B457B}"/>
              </a:ext>
            </a:extLst>
          </p:cNvPr>
          <p:cNvSpPr txBox="1"/>
          <p:nvPr/>
        </p:nvSpPr>
        <p:spPr>
          <a:xfrm>
            <a:off x="1372658" y="494277"/>
            <a:ext cx="3532505" cy="769441"/>
          </a:xfrm>
          <a:prstGeom prst="rect">
            <a:avLst/>
          </a:prstGeom>
          <a:noFill/>
        </p:spPr>
        <p:txBody>
          <a:bodyPr wrap="none" rtlCol="0">
            <a:spAutoFit/>
          </a:bodyPr>
          <a:lstStyle/>
          <a:p>
            <a:pPr algn="l"/>
            <a:r>
              <a:rPr lang="en-US" sz="4400" dirty="0"/>
              <a:t>DAN MALLOTT</a:t>
            </a:r>
          </a:p>
        </p:txBody>
      </p:sp>
      <p:sp>
        <p:nvSpPr>
          <p:cNvPr id="4" name="TextBox 3">
            <a:extLst>
              <a:ext uri="{FF2B5EF4-FFF2-40B4-BE49-F238E27FC236}">
                <a16:creationId xmlns:a16="http://schemas.microsoft.com/office/drawing/2014/main" id="{794DB417-9B7A-7444-B3A7-34D53B6AFD79}"/>
              </a:ext>
            </a:extLst>
          </p:cNvPr>
          <p:cNvSpPr txBox="1"/>
          <p:nvPr/>
        </p:nvSpPr>
        <p:spPr>
          <a:xfrm>
            <a:off x="609601" y="4909710"/>
            <a:ext cx="5178250" cy="923330"/>
          </a:xfrm>
          <a:prstGeom prst="rect">
            <a:avLst/>
          </a:prstGeom>
          <a:noFill/>
        </p:spPr>
        <p:txBody>
          <a:bodyPr wrap="square" rtlCol="0">
            <a:spAutoFit/>
          </a:bodyPr>
          <a:lstStyle/>
          <a:p>
            <a:pPr algn="l"/>
            <a:r>
              <a:rPr lang="en-US" b="1" dirty="0"/>
              <a:t>Twitter</a:t>
            </a:r>
            <a:r>
              <a:rPr lang="en-US" dirty="0"/>
              <a:t>: @</a:t>
            </a:r>
            <a:r>
              <a:rPr lang="en-US" dirty="0" err="1"/>
              <a:t>DanielMallott</a:t>
            </a:r>
            <a:endParaRPr lang="en-US" dirty="0"/>
          </a:p>
          <a:p>
            <a:pPr algn="l"/>
            <a:r>
              <a:rPr lang="en-US" b="1" dirty="0"/>
              <a:t>GitHub</a:t>
            </a:r>
            <a:r>
              <a:rPr lang="en-US" dirty="0"/>
              <a:t>: </a:t>
            </a:r>
            <a:r>
              <a:rPr lang="en-US" dirty="0">
                <a:hlinkClick r:id="rId4"/>
              </a:rPr>
              <a:t>https://github.com/danielmallott</a:t>
            </a:r>
            <a:endParaRPr lang="en-US" dirty="0"/>
          </a:p>
          <a:p>
            <a:pPr algn="l"/>
            <a:r>
              <a:rPr lang="en-US" b="1" dirty="0"/>
              <a:t>LinkedIn</a:t>
            </a:r>
            <a:r>
              <a:rPr lang="en-US" dirty="0"/>
              <a:t>: </a:t>
            </a:r>
            <a:r>
              <a:rPr lang="en-US" dirty="0">
                <a:hlinkClick r:id="rId5"/>
              </a:rPr>
              <a:t>https://www.linkedin.com/in/danielmallott</a:t>
            </a:r>
            <a:endParaRPr lang="en-US" dirty="0"/>
          </a:p>
        </p:txBody>
      </p:sp>
    </p:spTree>
    <p:extLst>
      <p:ext uri="{BB962C8B-B14F-4D97-AF65-F5344CB8AC3E}">
        <p14:creationId xmlns:p14="http://schemas.microsoft.com/office/powerpoint/2010/main" val="26537634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a:off x="4184869" y="2122739"/>
            <a:ext cx="4066921" cy="965304"/>
          </a:xfrm>
          <a:prstGeom prst="rect">
            <a:avLst/>
          </a:prstGeom>
        </p:spPr>
        <p:txBody>
          <a:bodyPr wrap="square" lIns="84406" rIns="84406" bIns="42203">
            <a:spAutoFit/>
          </a:bodyPr>
          <a:lstStyle/>
          <a:p>
            <a:pPr>
              <a:lnSpc>
                <a:spcPct val="89000"/>
              </a:lnSpc>
            </a:pPr>
            <a:r>
              <a:rPr lang="en-US" sz="2800" b="1" dirty="0">
                <a:solidFill>
                  <a:schemeClr val="tx2">
                    <a:lumMod val="50000"/>
                  </a:schemeClr>
                </a:solidFill>
              </a:rPr>
              <a:t>Object Relational Mapper</a:t>
            </a:r>
          </a:p>
          <a:p>
            <a:pPr>
              <a:lnSpc>
                <a:spcPct val="89000"/>
              </a:lnSpc>
            </a:pPr>
            <a:r>
              <a:rPr lang="en-US" sz="1200" dirty="0">
                <a:solidFill>
                  <a:schemeClr val="tx2">
                    <a:lumMod val="50000"/>
                  </a:schemeClr>
                </a:solidFill>
              </a:rPr>
              <a:t>Entity Framework Core executes and maps the results of queries from the database into C# objects and keeps track of object state so changes can be saved back to the database</a:t>
            </a:r>
          </a:p>
        </p:txBody>
      </p:sp>
      <p:sp>
        <p:nvSpPr>
          <p:cNvPr id="4" name="Title 3">
            <a:extLst>
              <a:ext uri="{FF2B5EF4-FFF2-40B4-BE49-F238E27FC236}">
                <a16:creationId xmlns:a16="http://schemas.microsoft.com/office/drawing/2014/main" id="{7A151A74-05C8-A845-80C7-4E36BD71BEA9}"/>
              </a:ext>
            </a:extLst>
          </p:cNvPr>
          <p:cNvSpPr>
            <a:spLocks noGrp="1"/>
          </p:cNvSpPr>
          <p:nvPr>
            <p:ph type="title"/>
          </p:nvPr>
        </p:nvSpPr>
        <p:spPr/>
        <p:txBody>
          <a:bodyPr/>
          <a:lstStyle/>
          <a:p>
            <a:r>
              <a:rPr lang="en-US" sz="4400" dirty="0"/>
              <a:t>What Is Entity Framework Core, Again?</a:t>
            </a:r>
          </a:p>
        </p:txBody>
      </p:sp>
      <p:sp>
        <p:nvSpPr>
          <p:cNvPr id="7" name="Text Placeholder 6">
            <a:extLst>
              <a:ext uri="{FF2B5EF4-FFF2-40B4-BE49-F238E27FC236}">
                <a16:creationId xmlns:a16="http://schemas.microsoft.com/office/drawing/2014/main" id="{FA12ACB5-E4E1-554C-82BE-8391F6C3158D}"/>
              </a:ext>
            </a:extLst>
          </p:cNvPr>
          <p:cNvSpPr>
            <a:spLocks noGrp="1"/>
          </p:cNvSpPr>
          <p:nvPr>
            <p:ph type="body" sz="quarter" idx="13"/>
          </p:nvPr>
        </p:nvSpPr>
        <p:spPr/>
        <p:txBody>
          <a:bodyPr/>
          <a:lstStyle/>
          <a:p>
            <a:endParaRPr lang="en-US"/>
          </a:p>
        </p:txBody>
      </p:sp>
      <p:sp>
        <p:nvSpPr>
          <p:cNvPr id="5" name="Slide Number Placeholder 4"/>
          <p:cNvSpPr>
            <a:spLocks noGrp="1"/>
          </p:cNvSpPr>
          <p:nvPr>
            <p:ph type="sldNum" sz="quarter" idx="4"/>
          </p:nvPr>
        </p:nvSpPr>
        <p:spPr/>
        <p:txBody>
          <a:bodyPr/>
          <a:lstStyle/>
          <a:p>
            <a:fld id="{8F26C51A-D5C8-414C-B110-B45114A5F481}" type="slidenum">
              <a:rPr lang="en-US" smtClean="0"/>
              <a:pPr/>
              <a:t>6</a:t>
            </a:fld>
            <a:endParaRPr lang="en-US"/>
          </a:p>
        </p:txBody>
      </p:sp>
      <p:grpSp>
        <p:nvGrpSpPr>
          <p:cNvPr id="3" name="Group 2">
            <a:extLst>
              <a:ext uri="{FF2B5EF4-FFF2-40B4-BE49-F238E27FC236}">
                <a16:creationId xmlns:a16="http://schemas.microsoft.com/office/drawing/2014/main" id="{569CBC6F-89E6-8546-BFC5-10821FE401B5}"/>
              </a:ext>
            </a:extLst>
          </p:cNvPr>
          <p:cNvGrpSpPr/>
          <p:nvPr/>
        </p:nvGrpSpPr>
        <p:grpSpPr>
          <a:xfrm>
            <a:off x="609600" y="2328311"/>
            <a:ext cx="10972798" cy="2861766"/>
            <a:chOff x="757935" y="1680091"/>
            <a:chExt cx="7781743" cy="2480197"/>
          </a:xfrm>
        </p:grpSpPr>
        <p:grpSp>
          <p:nvGrpSpPr>
            <p:cNvPr id="26" name="Group 25"/>
            <p:cNvGrpSpPr/>
            <p:nvPr/>
          </p:nvGrpSpPr>
          <p:grpSpPr>
            <a:xfrm>
              <a:off x="6806791" y="2710348"/>
              <a:ext cx="1732887" cy="1449940"/>
              <a:chOff x="6687201" y="2321439"/>
              <a:chExt cx="1698530" cy="1421192"/>
            </a:xfrm>
          </p:grpSpPr>
          <p:sp>
            <p:nvSpPr>
              <p:cNvPr id="23" name="Freeform 17"/>
              <p:cNvSpPr>
                <a:spLocks/>
              </p:cNvSpPr>
              <p:nvPr/>
            </p:nvSpPr>
            <p:spPr bwMode="auto">
              <a:xfrm>
                <a:off x="7658548" y="2321439"/>
                <a:ext cx="727183" cy="1421192"/>
              </a:xfrm>
              <a:custGeom>
                <a:avLst/>
                <a:gdLst>
                  <a:gd name="T0" fmla="*/ 0 w 548"/>
                  <a:gd name="T1" fmla="*/ 916 h 1071"/>
                  <a:gd name="T2" fmla="*/ 0 w 548"/>
                  <a:gd name="T3" fmla="*/ 1071 h 1071"/>
                  <a:gd name="T4" fmla="*/ 548 w 548"/>
                  <a:gd name="T5" fmla="*/ 533 h 1071"/>
                  <a:gd name="T6" fmla="*/ 0 w 548"/>
                  <a:gd name="T7" fmla="*/ 0 h 1071"/>
                  <a:gd name="T8" fmla="*/ 0 w 548"/>
                  <a:gd name="T9" fmla="*/ 155 h 1071"/>
                </a:gdLst>
                <a:ahLst/>
                <a:cxnLst>
                  <a:cxn ang="0">
                    <a:pos x="T0" y="T1"/>
                  </a:cxn>
                  <a:cxn ang="0">
                    <a:pos x="T2" y="T3"/>
                  </a:cxn>
                  <a:cxn ang="0">
                    <a:pos x="T4" y="T5"/>
                  </a:cxn>
                  <a:cxn ang="0">
                    <a:pos x="T6" y="T7"/>
                  </a:cxn>
                  <a:cxn ang="0">
                    <a:pos x="T8" y="T9"/>
                  </a:cxn>
                </a:cxnLst>
                <a:rect l="0" t="0" r="r" b="b"/>
                <a:pathLst>
                  <a:path w="548" h="1071">
                    <a:moveTo>
                      <a:pt x="0" y="916"/>
                    </a:moveTo>
                    <a:lnTo>
                      <a:pt x="0" y="1071"/>
                    </a:lnTo>
                    <a:lnTo>
                      <a:pt x="548" y="533"/>
                    </a:lnTo>
                    <a:lnTo>
                      <a:pt x="0" y="0"/>
                    </a:lnTo>
                    <a:lnTo>
                      <a:pt x="0" y="155"/>
                    </a:lnTo>
                  </a:path>
                </a:pathLst>
              </a:custGeom>
              <a:noFill/>
              <a:ln w="41275" cap="sq">
                <a:solidFill>
                  <a:schemeClr val="tx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en-US" sz="2077"/>
              </a:p>
            </p:txBody>
          </p:sp>
          <p:sp>
            <p:nvSpPr>
              <p:cNvPr id="24" name="Line 18"/>
              <p:cNvSpPr>
                <a:spLocks noChangeShapeType="1"/>
              </p:cNvSpPr>
              <p:nvPr/>
            </p:nvSpPr>
            <p:spPr bwMode="auto">
              <a:xfrm>
                <a:off x="6687201" y="3536950"/>
                <a:ext cx="971347" cy="0"/>
              </a:xfrm>
              <a:prstGeom prst="line">
                <a:avLst/>
              </a:prstGeom>
              <a:noFill/>
              <a:ln w="41275" cap="sq">
                <a:solidFill>
                  <a:schemeClr val="tx1"/>
                </a:solidFill>
                <a:prstDash val="solid"/>
                <a:miter lim="800000"/>
                <a:headEnd/>
                <a:tailEnd/>
              </a:ln>
              <a:extLst>
                <a:ext uri="{909E8E84-426E-40dd-AFC4-6F175D3DCCD1}">
                  <a14:hiddenFill xmlns=""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en-US" sz="2077"/>
              </a:p>
            </p:txBody>
          </p:sp>
        </p:grpSp>
        <p:grpSp>
          <p:nvGrpSpPr>
            <p:cNvPr id="29" name="Group 28"/>
            <p:cNvGrpSpPr/>
            <p:nvPr/>
          </p:nvGrpSpPr>
          <p:grpSpPr>
            <a:xfrm>
              <a:off x="757935" y="1680091"/>
              <a:ext cx="1732887" cy="1441817"/>
              <a:chOff x="758270" y="1311610"/>
              <a:chExt cx="1698530" cy="1413230"/>
            </a:xfrm>
          </p:grpSpPr>
          <p:sp>
            <p:nvSpPr>
              <p:cNvPr id="20" name="Freeform 14"/>
              <p:cNvSpPr>
                <a:spLocks/>
              </p:cNvSpPr>
              <p:nvPr/>
            </p:nvSpPr>
            <p:spPr bwMode="auto">
              <a:xfrm>
                <a:off x="758270" y="1311610"/>
                <a:ext cx="727183" cy="1413230"/>
              </a:xfrm>
              <a:custGeom>
                <a:avLst/>
                <a:gdLst>
                  <a:gd name="T0" fmla="*/ 548 w 548"/>
                  <a:gd name="T1" fmla="*/ 149 h 1065"/>
                  <a:gd name="T2" fmla="*/ 548 w 548"/>
                  <a:gd name="T3" fmla="*/ 0 h 1065"/>
                  <a:gd name="T4" fmla="*/ 0 w 548"/>
                  <a:gd name="T5" fmla="*/ 532 h 1065"/>
                  <a:gd name="T6" fmla="*/ 548 w 548"/>
                  <a:gd name="T7" fmla="*/ 1065 h 1065"/>
                  <a:gd name="T8" fmla="*/ 548 w 548"/>
                  <a:gd name="T9" fmla="*/ 916 h 1065"/>
                </a:gdLst>
                <a:ahLst/>
                <a:cxnLst>
                  <a:cxn ang="0">
                    <a:pos x="T0" y="T1"/>
                  </a:cxn>
                  <a:cxn ang="0">
                    <a:pos x="T2" y="T3"/>
                  </a:cxn>
                  <a:cxn ang="0">
                    <a:pos x="T4" y="T5"/>
                  </a:cxn>
                  <a:cxn ang="0">
                    <a:pos x="T6" y="T7"/>
                  </a:cxn>
                  <a:cxn ang="0">
                    <a:pos x="T8" y="T9"/>
                  </a:cxn>
                </a:cxnLst>
                <a:rect l="0" t="0" r="r" b="b"/>
                <a:pathLst>
                  <a:path w="548" h="1065">
                    <a:moveTo>
                      <a:pt x="548" y="149"/>
                    </a:moveTo>
                    <a:lnTo>
                      <a:pt x="548" y="0"/>
                    </a:lnTo>
                    <a:lnTo>
                      <a:pt x="0" y="532"/>
                    </a:lnTo>
                    <a:lnTo>
                      <a:pt x="548" y="1065"/>
                    </a:lnTo>
                    <a:lnTo>
                      <a:pt x="548" y="916"/>
                    </a:lnTo>
                  </a:path>
                </a:pathLst>
              </a:custGeom>
              <a:noFill/>
              <a:ln w="41275" cap="sq">
                <a:solidFill>
                  <a:schemeClr val="tx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en-US" sz="2077"/>
              </a:p>
            </p:txBody>
          </p:sp>
          <p:sp>
            <p:nvSpPr>
              <p:cNvPr id="21" name="Line 15"/>
              <p:cNvSpPr>
                <a:spLocks noChangeShapeType="1"/>
              </p:cNvSpPr>
              <p:nvPr/>
            </p:nvSpPr>
            <p:spPr bwMode="auto">
              <a:xfrm flipH="1">
                <a:off x="1485453" y="1509330"/>
                <a:ext cx="971347" cy="0"/>
              </a:xfrm>
              <a:prstGeom prst="line">
                <a:avLst/>
              </a:prstGeom>
              <a:noFill/>
              <a:ln w="41275" cap="sq">
                <a:solidFill>
                  <a:schemeClr val="tx1"/>
                </a:solidFill>
                <a:prstDash val="solid"/>
                <a:miter lim="800000"/>
                <a:headEnd/>
                <a:tailEnd/>
              </a:ln>
              <a:extLst>
                <a:ext uri="{909E8E84-426E-40dd-AFC4-6F175D3DCCD1}">
                  <a14:hiddenFill xmlns=""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en-US" sz="2077"/>
              </a:p>
            </p:txBody>
          </p:sp>
          <p:sp>
            <p:nvSpPr>
              <p:cNvPr id="27" name="Line 15"/>
              <p:cNvSpPr>
                <a:spLocks noChangeShapeType="1"/>
              </p:cNvSpPr>
              <p:nvPr/>
            </p:nvSpPr>
            <p:spPr bwMode="auto">
              <a:xfrm flipH="1">
                <a:off x="1485453" y="2527121"/>
                <a:ext cx="971347" cy="0"/>
              </a:xfrm>
              <a:prstGeom prst="line">
                <a:avLst/>
              </a:prstGeom>
              <a:noFill/>
              <a:ln w="41275" cap="rnd">
                <a:solidFill>
                  <a:schemeClr val="tx1"/>
                </a:solidFill>
                <a:prstDash val="solid"/>
                <a:round/>
                <a:headEnd/>
                <a:tailEnd/>
              </a:ln>
              <a:extLst>
                <a:ext uri="{909E8E84-426E-40dd-AFC4-6F175D3DCCD1}">
                  <a14:hiddenFill xmlns=""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en-US" sz="2077"/>
              </a:p>
            </p:txBody>
          </p:sp>
        </p:grpSp>
        <p:sp>
          <p:nvSpPr>
            <p:cNvPr id="22" name="Line 16"/>
            <p:cNvSpPr>
              <a:spLocks noChangeShapeType="1"/>
            </p:cNvSpPr>
            <p:nvPr/>
          </p:nvSpPr>
          <p:spPr bwMode="auto">
            <a:xfrm>
              <a:off x="1499825" y="2920189"/>
              <a:ext cx="6297961" cy="0"/>
            </a:xfrm>
            <a:prstGeom prst="line">
              <a:avLst/>
            </a:prstGeom>
            <a:noFill/>
            <a:ln w="41275" cap="sq">
              <a:solidFill>
                <a:schemeClr val="tx1"/>
              </a:solidFill>
              <a:prstDash val="solid"/>
              <a:miter lim="800000"/>
              <a:headEnd/>
              <a:tailEnd/>
            </a:ln>
            <a:extLst>
              <a:ext uri="{909E8E84-426E-40dd-AFC4-6F175D3DCCD1}">
                <a14:hiddenFill xmlns="" xmlns:a14="http://schemas.microsoft.com/office/drawing/2010/main">
                  <a:noFill/>
                </a14:hiddenFill>
              </a:ext>
            </a:extLst>
          </p:spPr>
          <p:txBody>
            <a:bodyPr vert="horz" wrap="square" lIns="84406" tIns="42203" rIns="84406" bIns="42203" numCol="1" anchor="t" anchorCtr="0" compatLnSpc="1">
              <a:prstTxWarp prst="textNoShape">
                <a:avLst/>
              </a:prstTxWarp>
            </a:bodyPr>
            <a:lstStyle/>
            <a:p>
              <a:endParaRPr lang="en-US" sz="2077"/>
            </a:p>
          </p:txBody>
        </p:sp>
      </p:grpSp>
      <p:sp>
        <p:nvSpPr>
          <p:cNvPr id="28" name="Rectangle 31">
            <a:extLst>
              <a:ext uri="{FF2B5EF4-FFF2-40B4-BE49-F238E27FC236}">
                <a16:creationId xmlns:a16="http://schemas.microsoft.com/office/drawing/2014/main" id="{DFEA7CB4-FB12-C64F-853A-D43F2C74E015}"/>
              </a:ext>
            </a:extLst>
          </p:cNvPr>
          <p:cNvSpPr/>
          <p:nvPr/>
        </p:nvSpPr>
        <p:spPr>
          <a:xfrm>
            <a:off x="2063077" y="2873732"/>
            <a:ext cx="503637" cy="508464"/>
          </a:xfrm>
          <a:custGeom>
            <a:avLst/>
            <a:gdLst/>
            <a:ahLst/>
            <a:cxnLst/>
            <a:rect l="l" t="t" r="r" b="b"/>
            <a:pathLst>
              <a:path w="645539" h="653858">
                <a:moveTo>
                  <a:pt x="505166" y="577164"/>
                </a:moveTo>
                <a:cubicBezTo>
                  <a:pt x="498789" y="577164"/>
                  <a:pt x="492413" y="579596"/>
                  <a:pt x="487548" y="584462"/>
                </a:cubicBezTo>
                <a:cubicBezTo>
                  <a:pt x="477817" y="594192"/>
                  <a:pt x="477817" y="609968"/>
                  <a:pt x="487548" y="619698"/>
                </a:cubicBezTo>
                <a:cubicBezTo>
                  <a:pt x="497278" y="629428"/>
                  <a:pt x="513054" y="629428"/>
                  <a:pt x="522784" y="619698"/>
                </a:cubicBezTo>
                <a:cubicBezTo>
                  <a:pt x="532514" y="609968"/>
                  <a:pt x="532514" y="594192"/>
                  <a:pt x="522784" y="584462"/>
                </a:cubicBezTo>
                <a:cubicBezTo>
                  <a:pt x="517919" y="579596"/>
                  <a:pt x="511542" y="577164"/>
                  <a:pt x="505166" y="577164"/>
                </a:cubicBezTo>
                <a:close/>
                <a:moveTo>
                  <a:pt x="200743" y="398260"/>
                </a:moveTo>
                <a:lnTo>
                  <a:pt x="272759" y="470277"/>
                </a:lnTo>
                <a:lnTo>
                  <a:pt x="100110" y="642925"/>
                </a:lnTo>
                <a:cubicBezTo>
                  <a:pt x="92653" y="650383"/>
                  <a:pt x="80562" y="650383"/>
                  <a:pt x="73104" y="642925"/>
                </a:cubicBezTo>
                <a:lnTo>
                  <a:pt x="28094" y="597915"/>
                </a:lnTo>
                <a:cubicBezTo>
                  <a:pt x="20636" y="590457"/>
                  <a:pt x="20636" y="578367"/>
                  <a:pt x="28094" y="570909"/>
                </a:cubicBezTo>
                <a:close/>
                <a:moveTo>
                  <a:pt x="135942" y="98102"/>
                </a:moveTo>
                <a:cubicBezTo>
                  <a:pt x="159987" y="101696"/>
                  <a:pt x="183151" y="112794"/>
                  <a:pt x="201692" y="131335"/>
                </a:cubicBezTo>
                <a:cubicBezTo>
                  <a:pt x="229541" y="159184"/>
                  <a:pt x="240599" y="197466"/>
                  <a:pt x="234554" y="233550"/>
                </a:cubicBezTo>
                <a:lnTo>
                  <a:pt x="234771" y="233767"/>
                </a:lnTo>
                <a:cubicBezTo>
                  <a:pt x="231130" y="247211"/>
                  <a:pt x="236071" y="263698"/>
                  <a:pt x="248455" y="276082"/>
                </a:cubicBezTo>
                <a:cubicBezTo>
                  <a:pt x="249365" y="276992"/>
                  <a:pt x="250297" y="277863"/>
                  <a:pt x="251569" y="278324"/>
                </a:cubicBezTo>
                <a:lnTo>
                  <a:pt x="543527" y="570282"/>
                </a:lnTo>
                <a:cubicBezTo>
                  <a:pt x="562646" y="589401"/>
                  <a:pt x="562646" y="620400"/>
                  <a:pt x="543527" y="639519"/>
                </a:cubicBezTo>
                <a:cubicBezTo>
                  <a:pt x="524408" y="658638"/>
                  <a:pt x="493409" y="658639"/>
                  <a:pt x="474289" y="639519"/>
                </a:cubicBezTo>
                <a:lnTo>
                  <a:pt x="183182" y="348411"/>
                </a:lnTo>
                <a:lnTo>
                  <a:pt x="180955" y="345316"/>
                </a:lnTo>
                <a:cubicBezTo>
                  <a:pt x="180051" y="344412"/>
                  <a:pt x="179125" y="343549"/>
                  <a:pt x="177861" y="343090"/>
                </a:cubicBezTo>
                <a:lnTo>
                  <a:pt x="177051" y="342280"/>
                </a:lnTo>
                <a:lnTo>
                  <a:pt x="176918" y="342412"/>
                </a:lnTo>
                <a:cubicBezTo>
                  <a:pt x="165350" y="331985"/>
                  <a:pt x="150561" y="328245"/>
                  <a:pt x="138349" y="331659"/>
                </a:cubicBezTo>
                <a:lnTo>
                  <a:pt x="138025" y="331335"/>
                </a:lnTo>
                <a:cubicBezTo>
                  <a:pt x="101527" y="337791"/>
                  <a:pt x="62624" y="326808"/>
                  <a:pt x="34421" y="298606"/>
                </a:cubicBezTo>
                <a:cubicBezTo>
                  <a:pt x="6885" y="271070"/>
                  <a:pt x="-4236" y="233334"/>
                  <a:pt x="1441" y="197617"/>
                </a:cubicBezTo>
                <a:lnTo>
                  <a:pt x="73079" y="250580"/>
                </a:lnTo>
                <a:cubicBezTo>
                  <a:pt x="86020" y="260147"/>
                  <a:pt x="104266" y="257412"/>
                  <a:pt x="113833" y="244471"/>
                </a:cubicBezTo>
                <a:lnTo>
                  <a:pt x="143551" y="204274"/>
                </a:lnTo>
                <a:cubicBezTo>
                  <a:pt x="153119" y="191333"/>
                  <a:pt x="150384" y="173087"/>
                  <a:pt x="137443" y="163520"/>
                </a:cubicBezTo>
                <a:lnTo>
                  <a:pt x="64912" y="109897"/>
                </a:lnTo>
                <a:cubicBezTo>
                  <a:pt x="86973" y="98419"/>
                  <a:pt x="111898" y="94508"/>
                  <a:pt x="135942" y="98102"/>
                </a:cubicBezTo>
                <a:close/>
                <a:moveTo>
                  <a:pt x="407253" y="0"/>
                </a:moveTo>
                <a:lnTo>
                  <a:pt x="425257" y="0"/>
                </a:lnTo>
                <a:lnTo>
                  <a:pt x="453305" y="28047"/>
                </a:lnTo>
                <a:cubicBezTo>
                  <a:pt x="447376" y="37733"/>
                  <a:pt x="445953" y="48370"/>
                  <a:pt x="450257" y="57348"/>
                </a:cubicBezTo>
                <a:cubicBezTo>
                  <a:pt x="456197" y="69740"/>
                  <a:pt x="471434" y="75610"/>
                  <a:pt x="488492" y="73335"/>
                </a:cubicBezTo>
                <a:cubicBezTo>
                  <a:pt x="498918" y="76846"/>
                  <a:pt x="508628" y="83371"/>
                  <a:pt x="517201" y="91944"/>
                </a:cubicBezTo>
                <a:lnTo>
                  <a:pt x="517362" y="92143"/>
                </a:lnTo>
                <a:lnTo>
                  <a:pt x="517381" y="92124"/>
                </a:lnTo>
                <a:lnTo>
                  <a:pt x="583584" y="158327"/>
                </a:lnTo>
                <a:lnTo>
                  <a:pt x="583539" y="158372"/>
                </a:lnTo>
                <a:cubicBezTo>
                  <a:pt x="583802" y="158546"/>
                  <a:pt x="584021" y="158764"/>
                  <a:pt x="584240" y="158983"/>
                </a:cubicBezTo>
                <a:cubicBezTo>
                  <a:pt x="626459" y="201202"/>
                  <a:pt x="647718" y="254748"/>
                  <a:pt x="645363" y="302437"/>
                </a:cubicBezTo>
                <a:lnTo>
                  <a:pt x="629429" y="321175"/>
                </a:lnTo>
                <a:cubicBezTo>
                  <a:pt x="628809" y="298084"/>
                  <a:pt x="617956" y="273258"/>
                  <a:pt x="598052" y="253355"/>
                </a:cubicBezTo>
                <a:cubicBezTo>
                  <a:pt x="569561" y="224863"/>
                  <a:pt x="530982" y="214917"/>
                  <a:pt x="501915" y="226118"/>
                </a:cubicBezTo>
                <a:lnTo>
                  <a:pt x="471192" y="256840"/>
                </a:lnTo>
                <a:cubicBezTo>
                  <a:pt x="466480" y="261552"/>
                  <a:pt x="458839" y="261552"/>
                  <a:pt x="454126" y="256839"/>
                </a:cubicBezTo>
                <a:lnTo>
                  <a:pt x="446906" y="249619"/>
                </a:lnTo>
                <a:lnTo>
                  <a:pt x="351465" y="345060"/>
                </a:lnTo>
                <a:lnTo>
                  <a:pt x="325959" y="319555"/>
                </a:lnTo>
                <a:lnTo>
                  <a:pt x="421401" y="224113"/>
                </a:lnTo>
                <a:cubicBezTo>
                  <a:pt x="418306" y="221018"/>
                  <a:pt x="415212" y="217924"/>
                  <a:pt x="412117" y="214829"/>
                </a:cubicBezTo>
                <a:cubicBezTo>
                  <a:pt x="407404" y="210116"/>
                  <a:pt x="407404" y="202475"/>
                  <a:pt x="412117" y="197762"/>
                </a:cubicBezTo>
                <a:lnTo>
                  <a:pt x="427214" y="182665"/>
                </a:lnTo>
                <a:lnTo>
                  <a:pt x="427200" y="182652"/>
                </a:lnTo>
                <a:cubicBezTo>
                  <a:pt x="448321" y="163695"/>
                  <a:pt x="457497" y="138630"/>
                  <a:pt x="448110" y="119044"/>
                </a:cubicBezTo>
                <a:cubicBezTo>
                  <a:pt x="437720" y="97367"/>
                  <a:pt x="407853" y="89212"/>
                  <a:pt x="376606" y="98299"/>
                </a:cubicBezTo>
                <a:lnTo>
                  <a:pt x="351781" y="73475"/>
                </a:lnTo>
                <a:cubicBezTo>
                  <a:pt x="346810" y="68503"/>
                  <a:pt x="346810" y="60443"/>
                  <a:pt x="351781" y="5547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0718" tIns="75359" rIns="150718" bIns="75359" rtlCol="0" anchor="ctr"/>
          <a:lstStyle/>
          <a:p>
            <a:pPr algn="ctr"/>
            <a:endParaRPr lang="en-US" sz="2077"/>
          </a:p>
        </p:txBody>
      </p:sp>
      <p:sp>
        <p:nvSpPr>
          <p:cNvPr id="34" name="Freeform 33">
            <a:extLst>
              <a:ext uri="{FF2B5EF4-FFF2-40B4-BE49-F238E27FC236}">
                <a16:creationId xmlns:a16="http://schemas.microsoft.com/office/drawing/2014/main" id="{B377375A-7E2E-374A-AA82-D83266BBBA56}"/>
              </a:ext>
            </a:extLst>
          </p:cNvPr>
          <p:cNvSpPr>
            <a:spLocks noChangeAspect="1"/>
          </p:cNvSpPr>
          <p:nvPr/>
        </p:nvSpPr>
        <p:spPr>
          <a:xfrm>
            <a:off x="9728356" y="4089803"/>
            <a:ext cx="516452" cy="527538"/>
          </a:xfrm>
          <a:custGeom>
            <a:avLst/>
            <a:gdLst>
              <a:gd name="connsiteX0" fmla="*/ 831850 w 1035055"/>
              <a:gd name="connsiteY0" fmla="*/ 835024 h 1057274"/>
              <a:gd name="connsiteX1" fmla="*/ 942975 w 1035055"/>
              <a:gd name="connsiteY1" fmla="*/ 946149 h 1057274"/>
              <a:gd name="connsiteX2" fmla="*/ 831850 w 1035055"/>
              <a:gd name="connsiteY2" fmla="*/ 1057274 h 1057274"/>
              <a:gd name="connsiteX3" fmla="*/ 720725 w 1035055"/>
              <a:gd name="connsiteY3" fmla="*/ 946149 h 1057274"/>
              <a:gd name="connsiteX4" fmla="*/ 831850 w 1035055"/>
              <a:gd name="connsiteY4" fmla="*/ 835024 h 1057274"/>
              <a:gd name="connsiteX5" fmla="*/ 314325 w 1035055"/>
              <a:gd name="connsiteY5" fmla="*/ 835024 h 1057274"/>
              <a:gd name="connsiteX6" fmla="*/ 425450 w 1035055"/>
              <a:gd name="connsiteY6" fmla="*/ 946149 h 1057274"/>
              <a:gd name="connsiteX7" fmla="*/ 314325 w 1035055"/>
              <a:gd name="connsiteY7" fmla="*/ 1057274 h 1057274"/>
              <a:gd name="connsiteX8" fmla="*/ 203200 w 1035055"/>
              <a:gd name="connsiteY8" fmla="*/ 946149 h 1057274"/>
              <a:gd name="connsiteX9" fmla="*/ 314325 w 1035055"/>
              <a:gd name="connsiteY9" fmla="*/ 835024 h 1057274"/>
              <a:gd name="connsiteX10" fmla="*/ 0 w 1035055"/>
              <a:gd name="connsiteY10" fmla="*/ 0 h 1057274"/>
              <a:gd name="connsiteX11" fmla="*/ 169548 w 1035055"/>
              <a:gd name="connsiteY11" fmla="*/ 0 h 1057274"/>
              <a:gd name="connsiteX12" fmla="*/ 220901 w 1035055"/>
              <a:gd name="connsiteY12" fmla="*/ 111125 h 1057274"/>
              <a:gd name="connsiteX13" fmla="*/ 885825 w 1035055"/>
              <a:gd name="connsiteY13" fmla="*/ 111125 h 1057274"/>
              <a:gd name="connsiteX14" fmla="*/ 974730 w 1035055"/>
              <a:gd name="connsiteY14" fmla="*/ 111125 h 1057274"/>
              <a:gd name="connsiteX15" fmla="*/ 974730 w 1035055"/>
              <a:gd name="connsiteY15" fmla="*/ 112859 h 1057274"/>
              <a:gd name="connsiteX16" fmla="*/ 1035055 w 1035055"/>
              <a:gd name="connsiteY16" fmla="*/ 173184 h 1057274"/>
              <a:gd name="connsiteX17" fmla="*/ 1030574 w 1035055"/>
              <a:gd name="connsiteY17" fmla="*/ 195383 h 1057274"/>
              <a:gd name="connsiteX18" fmla="*/ 1028069 w 1035055"/>
              <a:gd name="connsiteY18" fmla="*/ 199997 h 1057274"/>
              <a:gd name="connsiteX19" fmla="*/ 1025526 w 1035055"/>
              <a:gd name="connsiteY19" fmla="*/ 203768 h 1057274"/>
              <a:gd name="connsiteX20" fmla="*/ 1025526 w 1035055"/>
              <a:gd name="connsiteY20" fmla="*/ 204680 h 1057274"/>
              <a:gd name="connsiteX21" fmla="*/ 819466 w 1035055"/>
              <a:gd name="connsiteY21" fmla="*/ 584199 h 1057274"/>
              <a:gd name="connsiteX22" fmla="*/ 657543 w 1035055"/>
              <a:gd name="connsiteY22" fmla="*/ 584199 h 1057274"/>
              <a:gd name="connsiteX23" fmla="*/ 387027 w 1035055"/>
              <a:gd name="connsiteY23" fmla="*/ 584199 h 1057274"/>
              <a:gd name="connsiteX24" fmla="*/ 326703 w 1035055"/>
              <a:gd name="connsiteY24" fmla="*/ 584199 h 1057274"/>
              <a:gd name="connsiteX25" fmla="*/ 326178 w 1035055"/>
              <a:gd name="connsiteY25" fmla="*/ 583112 h 1057274"/>
              <a:gd name="connsiteX26" fmla="*/ 319977 w 1035055"/>
              <a:gd name="connsiteY26" fmla="*/ 583112 h 1057274"/>
              <a:gd name="connsiteX27" fmla="*/ 316118 w 1035055"/>
              <a:gd name="connsiteY27" fmla="*/ 586971 h 1057274"/>
              <a:gd name="connsiteX28" fmla="*/ 316119 w 1035055"/>
              <a:gd name="connsiteY28" fmla="*/ 675384 h 1057274"/>
              <a:gd name="connsiteX29" fmla="*/ 319978 w 1035055"/>
              <a:gd name="connsiteY29" fmla="*/ 679243 h 1057274"/>
              <a:gd name="connsiteX30" fmla="*/ 938213 w 1035055"/>
              <a:gd name="connsiteY30" fmla="*/ 679242 h 1057274"/>
              <a:gd name="connsiteX31" fmla="*/ 938213 w 1035055"/>
              <a:gd name="connsiteY31" fmla="*/ 792162 h 1057274"/>
              <a:gd name="connsiteX32" fmla="*/ 319977 w 1035055"/>
              <a:gd name="connsiteY32" fmla="*/ 792162 h 1057274"/>
              <a:gd name="connsiteX33" fmla="*/ 203199 w 1035055"/>
              <a:gd name="connsiteY33" fmla="*/ 675384 h 1057274"/>
              <a:gd name="connsiteX34" fmla="*/ 203199 w 1035055"/>
              <a:gd name="connsiteY34" fmla="*/ 586971 h 1057274"/>
              <a:gd name="connsiteX35" fmla="*/ 274521 w 1035055"/>
              <a:gd name="connsiteY35" fmla="*/ 479370 h 1057274"/>
              <a:gd name="connsiteX36" fmla="*/ 275976 w 1035055"/>
              <a:gd name="connsiteY36" fmla="*/ 479076 h 1057274"/>
              <a:gd name="connsiteX37" fmla="*/ 101485 w 1035055"/>
              <a:gd name="connsiteY37" fmla="*/ 117475 h 1057274"/>
              <a:gd name="connsiteX38" fmla="*/ 0 w 1035055"/>
              <a:gd name="connsiteY38" fmla="*/ 117475 h 105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35055" h="1057274">
                <a:moveTo>
                  <a:pt x="831850" y="835024"/>
                </a:moveTo>
                <a:cubicBezTo>
                  <a:pt x="893223" y="835024"/>
                  <a:pt x="942975" y="884776"/>
                  <a:pt x="942975" y="946149"/>
                </a:cubicBezTo>
                <a:cubicBezTo>
                  <a:pt x="942975" y="1007522"/>
                  <a:pt x="893223" y="1057274"/>
                  <a:pt x="831850" y="1057274"/>
                </a:cubicBezTo>
                <a:cubicBezTo>
                  <a:pt x="770477" y="1057274"/>
                  <a:pt x="720725" y="1007522"/>
                  <a:pt x="720725" y="946149"/>
                </a:cubicBezTo>
                <a:cubicBezTo>
                  <a:pt x="720725" y="884776"/>
                  <a:pt x="770477" y="835024"/>
                  <a:pt x="831850" y="835024"/>
                </a:cubicBezTo>
                <a:close/>
                <a:moveTo>
                  <a:pt x="314325" y="835024"/>
                </a:moveTo>
                <a:cubicBezTo>
                  <a:pt x="375698" y="835024"/>
                  <a:pt x="425450" y="884776"/>
                  <a:pt x="425450" y="946149"/>
                </a:cubicBezTo>
                <a:cubicBezTo>
                  <a:pt x="425450" y="1007522"/>
                  <a:pt x="375698" y="1057274"/>
                  <a:pt x="314325" y="1057274"/>
                </a:cubicBezTo>
                <a:cubicBezTo>
                  <a:pt x="252952" y="1057274"/>
                  <a:pt x="203200" y="1007522"/>
                  <a:pt x="203200" y="946149"/>
                </a:cubicBezTo>
                <a:cubicBezTo>
                  <a:pt x="203200" y="884776"/>
                  <a:pt x="252952" y="835024"/>
                  <a:pt x="314325" y="835024"/>
                </a:cubicBezTo>
                <a:close/>
                <a:moveTo>
                  <a:pt x="0" y="0"/>
                </a:moveTo>
                <a:lnTo>
                  <a:pt x="169548" y="0"/>
                </a:lnTo>
                <a:lnTo>
                  <a:pt x="220901" y="111125"/>
                </a:lnTo>
                <a:lnTo>
                  <a:pt x="885825" y="111125"/>
                </a:lnTo>
                <a:lnTo>
                  <a:pt x="974730" y="111125"/>
                </a:lnTo>
                <a:lnTo>
                  <a:pt x="974730" y="112859"/>
                </a:lnTo>
                <a:cubicBezTo>
                  <a:pt x="1008047" y="112859"/>
                  <a:pt x="1035055" y="139867"/>
                  <a:pt x="1035055" y="173184"/>
                </a:cubicBezTo>
                <a:lnTo>
                  <a:pt x="1030574" y="195383"/>
                </a:lnTo>
                <a:lnTo>
                  <a:pt x="1028069" y="199997"/>
                </a:lnTo>
                <a:lnTo>
                  <a:pt x="1025526" y="203768"/>
                </a:lnTo>
                <a:lnTo>
                  <a:pt x="1025526" y="204680"/>
                </a:lnTo>
                <a:lnTo>
                  <a:pt x="819466" y="584199"/>
                </a:lnTo>
                <a:lnTo>
                  <a:pt x="657543" y="584199"/>
                </a:lnTo>
                <a:lnTo>
                  <a:pt x="387027" y="584199"/>
                </a:lnTo>
                <a:lnTo>
                  <a:pt x="326703" y="584199"/>
                </a:lnTo>
                <a:lnTo>
                  <a:pt x="326178" y="583112"/>
                </a:lnTo>
                <a:lnTo>
                  <a:pt x="319977" y="583112"/>
                </a:lnTo>
                <a:cubicBezTo>
                  <a:pt x="317846" y="583112"/>
                  <a:pt x="316118" y="584840"/>
                  <a:pt x="316118" y="586971"/>
                </a:cubicBezTo>
                <a:lnTo>
                  <a:pt x="316119" y="675384"/>
                </a:lnTo>
                <a:cubicBezTo>
                  <a:pt x="316119" y="677515"/>
                  <a:pt x="317847" y="679243"/>
                  <a:pt x="319978" y="679243"/>
                </a:cubicBezTo>
                <a:cubicBezTo>
                  <a:pt x="526056" y="679243"/>
                  <a:pt x="732135" y="679242"/>
                  <a:pt x="938213" y="679242"/>
                </a:cubicBezTo>
                <a:lnTo>
                  <a:pt x="938213" y="792162"/>
                </a:lnTo>
                <a:lnTo>
                  <a:pt x="319977" y="792162"/>
                </a:lnTo>
                <a:cubicBezTo>
                  <a:pt x="255482" y="792162"/>
                  <a:pt x="203199" y="739879"/>
                  <a:pt x="203199" y="675384"/>
                </a:cubicBezTo>
                <a:lnTo>
                  <a:pt x="203199" y="586971"/>
                </a:lnTo>
                <a:cubicBezTo>
                  <a:pt x="203199" y="538600"/>
                  <a:pt x="232608" y="497098"/>
                  <a:pt x="274521" y="479370"/>
                </a:cubicBezTo>
                <a:lnTo>
                  <a:pt x="275976" y="479076"/>
                </a:lnTo>
                <a:lnTo>
                  <a:pt x="101485" y="117475"/>
                </a:lnTo>
                <a:lnTo>
                  <a:pt x="0" y="11747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35" name="Rectangle 34">
            <a:extLst>
              <a:ext uri="{FF2B5EF4-FFF2-40B4-BE49-F238E27FC236}">
                <a16:creationId xmlns:a16="http://schemas.microsoft.com/office/drawing/2014/main" id="{2581D1B9-4511-1643-AE61-C987C641054A}"/>
              </a:ext>
            </a:extLst>
          </p:cNvPr>
          <p:cNvSpPr/>
          <p:nvPr/>
        </p:nvSpPr>
        <p:spPr>
          <a:xfrm>
            <a:off x="3848519" y="4557324"/>
            <a:ext cx="4157499" cy="965304"/>
          </a:xfrm>
          <a:prstGeom prst="rect">
            <a:avLst/>
          </a:prstGeom>
        </p:spPr>
        <p:txBody>
          <a:bodyPr wrap="square" lIns="84406" rIns="84406" bIns="42203">
            <a:spAutoFit/>
          </a:bodyPr>
          <a:lstStyle/>
          <a:p>
            <a:pPr algn="r">
              <a:lnSpc>
                <a:spcPct val="89000"/>
              </a:lnSpc>
            </a:pPr>
            <a:r>
              <a:rPr lang="en-US" sz="2800" b="1" dirty="0">
                <a:solidFill>
                  <a:schemeClr val="tx2">
                    <a:lumMod val="50000"/>
                  </a:schemeClr>
                </a:solidFill>
              </a:rPr>
              <a:t>Query Generator</a:t>
            </a:r>
          </a:p>
          <a:p>
            <a:pPr algn="r">
              <a:lnSpc>
                <a:spcPct val="89000"/>
              </a:lnSpc>
            </a:pPr>
            <a:r>
              <a:rPr lang="en-US" sz="1200" dirty="0">
                <a:solidFill>
                  <a:schemeClr val="tx2">
                    <a:lumMod val="50000"/>
                  </a:schemeClr>
                </a:solidFill>
              </a:rPr>
              <a:t>To accomplish its role as an Object Relational Mapper, Entity Framework Core also includes power abilities to generate both DDL and DML in the language of the database being used</a:t>
            </a:r>
          </a:p>
        </p:txBody>
      </p:sp>
      <p:sp>
        <p:nvSpPr>
          <p:cNvPr id="31" name="Diamond 30"/>
          <p:cNvSpPr>
            <a:spLocks noChangeAspect="1"/>
          </p:cNvSpPr>
          <p:nvPr/>
        </p:nvSpPr>
        <p:spPr>
          <a:xfrm>
            <a:off x="8251790" y="4392741"/>
            <a:ext cx="1097280" cy="1097280"/>
          </a:xfrm>
          <a:prstGeom prst="diamond">
            <a:avLst/>
          </a:prstGeom>
          <a:solidFill>
            <a:schemeClr val="tx2"/>
          </a:solidFill>
          <a:ln w="41275">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2800" b="1">
                <a:solidFill>
                  <a:schemeClr val="bg2"/>
                </a:solidFill>
                <a:latin typeface="Calibri" panose="020F0502020204030204" pitchFamily="34" charset="0"/>
                <a:cs typeface="Calibri" panose="020F0502020204030204" pitchFamily="34" charset="0"/>
              </a:rPr>
              <a:t>02</a:t>
            </a:r>
          </a:p>
        </p:txBody>
      </p:sp>
      <p:sp>
        <p:nvSpPr>
          <p:cNvPr id="30" name="Diamond 29"/>
          <p:cNvSpPr>
            <a:spLocks noChangeAspect="1"/>
          </p:cNvSpPr>
          <p:nvPr/>
        </p:nvSpPr>
        <p:spPr>
          <a:xfrm>
            <a:off x="2822832" y="2001526"/>
            <a:ext cx="1097280" cy="1097280"/>
          </a:xfrm>
          <a:prstGeom prst="diamond">
            <a:avLst/>
          </a:prstGeom>
          <a:solidFill>
            <a:schemeClr val="tx2"/>
          </a:solidFill>
          <a:ln w="41275">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2800" b="1">
                <a:solidFill>
                  <a:schemeClr val="bg2"/>
                </a:solidFill>
                <a:latin typeface="Calibri" panose="020F0502020204030204" pitchFamily="34" charset="0"/>
                <a:cs typeface="Calibri" panose="020F0502020204030204" pitchFamily="34" charset="0"/>
              </a:rPr>
              <a:t>01</a:t>
            </a:r>
          </a:p>
        </p:txBody>
      </p:sp>
    </p:spTree>
    <p:custDataLst>
      <p:tags r:id="rId1"/>
    </p:custDataLst>
    <p:extLst>
      <p:ext uri="{BB962C8B-B14F-4D97-AF65-F5344CB8AC3E}">
        <p14:creationId xmlns:p14="http://schemas.microsoft.com/office/powerpoint/2010/main" val="12501235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2312E43-1E7E-514B-801E-A19431C1A0DA}"/>
              </a:ext>
            </a:extLst>
          </p:cNvPr>
          <p:cNvSpPr>
            <a:spLocks noGrp="1"/>
          </p:cNvSpPr>
          <p:nvPr>
            <p:ph type="body" sz="quarter" idx="10"/>
          </p:nvPr>
        </p:nvSpPr>
        <p:spPr/>
        <p:txBody>
          <a:bodyPr/>
          <a:lstStyle/>
          <a:p>
            <a:r>
              <a:rPr lang="en-US" dirty="0"/>
              <a:t>Configuration – The Defaults </a:t>
            </a:r>
            <a:r>
              <a:rPr lang="en-US" i="1" dirty="0"/>
              <a:t>May</a:t>
            </a:r>
            <a:r>
              <a:rPr lang="en-US" dirty="0"/>
              <a:t> Let You Down…</a:t>
            </a:r>
          </a:p>
        </p:txBody>
      </p:sp>
      <p:sp>
        <p:nvSpPr>
          <p:cNvPr id="3" name="Slide Number Placeholder 2">
            <a:extLst>
              <a:ext uri="{FF2B5EF4-FFF2-40B4-BE49-F238E27FC236}">
                <a16:creationId xmlns:a16="http://schemas.microsoft.com/office/drawing/2014/main" id="{2A45E23B-E863-6140-BB86-58EC298E62E3}"/>
              </a:ext>
            </a:extLst>
          </p:cNvPr>
          <p:cNvSpPr>
            <a:spLocks noGrp="1"/>
          </p:cNvSpPr>
          <p:nvPr>
            <p:ph type="sldNum" sz="quarter" idx="4"/>
          </p:nvPr>
        </p:nvSpPr>
        <p:spPr/>
        <p:txBody>
          <a:bodyPr/>
          <a:lstStyle/>
          <a:p>
            <a:fld id="{E1123682-AE52-6D45-865E-F1EB3AE0E340}" type="slidenum">
              <a:rPr lang="en-US" smtClean="0"/>
              <a:pPr/>
              <a:t>7</a:t>
            </a:fld>
            <a:endParaRPr lang="en-US" dirty="0"/>
          </a:p>
        </p:txBody>
      </p:sp>
    </p:spTree>
    <p:extLst>
      <p:ext uri="{BB962C8B-B14F-4D97-AF65-F5344CB8AC3E}">
        <p14:creationId xmlns:p14="http://schemas.microsoft.com/office/powerpoint/2010/main" val="15606079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258701-2D17-FC4C-A476-1388E6FF9384}"/>
              </a:ext>
            </a:extLst>
          </p:cNvPr>
          <p:cNvSpPr>
            <a:spLocks noGrp="1"/>
          </p:cNvSpPr>
          <p:nvPr>
            <p:ph type="title"/>
          </p:nvPr>
        </p:nvSpPr>
        <p:spPr/>
        <p:txBody>
          <a:bodyPr/>
          <a:lstStyle/>
          <a:p>
            <a:r>
              <a:rPr lang="en-US" sz="4400" dirty="0"/>
              <a:t>What Are the Defaults?</a:t>
            </a:r>
          </a:p>
        </p:txBody>
      </p:sp>
      <p:sp>
        <p:nvSpPr>
          <p:cNvPr id="3" name="Text Placeholder 2">
            <a:extLst>
              <a:ext uri="{FF2B5EF4-FFF2-40B4-BE49-F238E27FC236}">
                <a16:creationId xmlns:a16="http://schemas.microsoft.com/office/drawing/2014/main" id="{419CE6B1-0BDD-6E4A-8D51-F271D01956B8}"/>
              </a:ext>
            </a:extLst>
          </p:cNvPr>
          <p:cNvSpPr>
            <a:spLocks noGrp="1"/>
          </p:cNvSpPr>
          <p:nvPr>
            <p:ph type="body" sz="quarter" idx="13"/>
          </p:nvPr>
        </p:nvSpPr>
        <p:spPr/>
        <p:txBody>
          <a:bodyPr/>
          <a:lstStyle/>
          <a:p>
            <a:r>
              <a:rPr lang="en-US" dirty="0"/>
              <a:t>CONFIGURATION</a:t>
            </a:r>
          </a:p>
        </p:txBody>
      </p:sp>
      <p:sp>
        <p:nvSpPr>
          <p:cNvPr id="4" name="Slide Number Placeholder 3">
            <a:extLst>
              <a:ext uri="{FF2B5EF4-FFF2-40B4-BE49-F238E27FC236}">
                <a16:creationId xmlns:a16="http://schemas.microsoft.com/office/drawing/2014/main" id="{C604E2EF-B74B-6042-BB59-418C294F12AA}"/>
              </a:ext>
            </a:extLst>
          </p:cNvPr>
          <p:cNvSpPr>
            <a:spLocks noGrp="1"/>
          </p:cNvSpPr>
          <p:nvPr>
            <p:ph type="sldNum" sz="quarter" idx="4"/>
          </p:nvPr>
        </p:nvSpPr>
        <p:spPr>
          <a:xfrm>
            <a:off x="10972796" y="6339706"/>
            <a:ext cx="609600" cy="365125"/>
          </a:xfrm>
        </p:spPr>
        <p:txBody>
          <a:bodyPr/>
          <a:lstStyle/>
          <a:p>
            <a:fld id="{E1123682-AE52-6D45-865E-F1EB3AE0E340}" type="slidenum">
              <a:rPr lang="en-US" smtClean="0"/>
              <a:pPr/>
              <a:t>8</a:t>
            </a:fld>
            <a:endParaRPr lang="en-US" dirty="0"/>
          </a:p>
        </p:txBody>
      </p:sp>
      <p:pic>
        <p:nvPicPr>
          <p:cNvPr id="6" name="Picture 5" descr="Text&#10;&#10;Description automatically generated">
            <a:extLst>
              <a:ext uri="{FF2B5EF4-FFF2-40B4-BE49-F238E27FC236}">
                <a16:creationId xmlns:a16="http://schemas.microsoft.com/office/drawing/2014/main" id="{5DB1510E-45DD-934A-B2E7-AC8B8FEFA069}"/>
              </a:ext>
            </a:extLst>
          </p:cNvPr>
          <p:cNvPicPr>
            <a:picLocks noChangeAspect="1"/>
          </p:cNvPicPr>
          <p:nvPr/>
        </p:nvPicPr>
        <p:blipFill>
          <a:blip r:embed="rId2"/>
          <a:stretch>
            <a:fillRect/>
          </a:stretch>
        </p:blipFill>
        <p:spPr>
          <a:xfrm>
            <a:off x="609597" y="1439562"/>
            <a:ext cx="10972799" cy="2388197"/>
          </a:xfrm>
          <a:prstGeom prst="rect">
            <a:avLst/>
          </a:prstGeom>
        </p:spPr>
      </p:pic>
      <p:sp>
        <p:nvSpPr>
          <p:cNvPr id="7" name="Left Brace 6">
            <a:extLst>
              <a:ext uri="{FF2B5EF4-FFF2-40B4-BE49-F238E27FC236}">
                <a16:creationId xmlns:a16="http://schemas.microsoft.com/office/drawing/2014/main" id="{150778C9-3D83-4E47-9FB8-39784A75CD51}"/>
              </a:ext>
            </a:extLst>
          </p:cNvPr>
          <p:cNvSpPr/>
          <p:nvPr/>
        </p:nvSpPr>
        <p:spPr>
          <a:xfrm rot="5400000">
            <a:off x="5899425" y="-1411827"/>
            <a:ext cx="393145" cy="10972798"/>
          </a:xfrm>
          <a:prstGeom prst="leftBrace">
            <a:avLst>
              <a:gd name="adj1" fmla="val 86764"/>
              <a:gd name="adj2" fmla="val 50000"/>
            </a:avLst>
          </a:prstGeom>
          <a:ln w="38100" cmpd="sng">
            <a:solidFill>
              <a:schemeClr val="tx1">
                <a:lumMod val="60000"/>
                <a:lumOff val="4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077"/>
          </a:p>
        </p:txBody>
      </p:sp>
      <p:sp>
        <p:nvSpPr>
          <p:cNvPr id="9" name="Rectangle 8">
            <a:extLst>
              <a:ext uri="{FF2B5EF4-FFF2-40B4-BE49-F238E27FC236}">
                <a16:creationId xmlns:a16="http://schemas.microsoft.com/office/drawing/2014/main" id="{0EC9BDC3-6EAB-A545-91CE-205EE8FB04B2}"/>
              </a:ext>
            </a:extLst>
          </p:cNvPr>
          <p:cNvSpPr>
            <a:spLocks noChangeArrowheads="1"/>
          </p:cNvSpPr>
          <p:nvPr/>
        </p:nvSpPr>
        <p:spPr bwMode="auto">
          <a:xfrm>
            <a:off x="609598" y="4388941"/>
            <a:ext cx="2600296" cy="1856745"/>
          </a:xfrm>
          <a:prstGeom prst="rect">
            <a:avLst/>
          </a:prstGeom>
          <a:solidFill>
            <a:schemeClr val="bg2"/>
          </a:solidFill>
          <a:ln w="28575" cap="flat" cmpd="sng" algn="ctr">
            <a:solidFill>
              <a:schemeClr val="bg2"/>
            </a:solidFill>
            <a:prstDash val="solid"/>
            <a:miter lim="800000"/>
            <a:headEnd/>
            <a:tailEnd/>
          </a:ln>
          <a:effectLst/>
        </p:spPr>
        <p:txBody>
          <a:bodyPr anchor="ctr"/>
          <a:lstStyle/>
          <a:p>
            <a:pPr algn="ctr" defTabSz="904538">
              <a:defRPr/>
            </a:pPr>
            <a:r>
              <a:rPr lang="en-US" sz="2800" b="1" kern="0" dirty="0">
                <a:solidFill>
                  <a:prstClr val="white"/>
                </a:solidFill>
                <a:latin typeface="Calibri"/>
              </a:rPr>
              <a:t>NO QUERY RETRY ENABLED</a:t>
            </a:r>
          </a:p>
        </p:txBody>
      </p:sp>
      <p:sp>
        <p:nvSpPr>
          <p:cNvPr id="11" name="Rectangle 10">
            <a:extLst>
              <a:ext uri="{FF2B5EF4-FFF2-40B4-BE49-F238E27FC236}">
                <a16:creationId xmlns:a16="http://schemas.microsoft.com/office/drawing/2014/main" id="{2B5E087A-4478-D84D-9533-6AA45234B136}"/>
              </a:ext>
            </a:extLst>
          </p:cNvPr>
          <p:cNvSpPr>
            <a:spLocks noChangeArrowheads="1"/>
          </p:cNvSpPr>
          <p:nvPr/>
        </p:nvSpPr>
        <p:spPr bwMode="auto">
          <a:xfrm>
            <a:off x="3400432" y="4388941"/>
            <a:ext cx="2600296" cy="1856745"/>
          </a:xfrm>
          <a:prstGeom prst="rect">
            <a:avLst/>
          </a:prstGeom>
          <a:solidFill>
            <a:schemeClr val="bg2"/>
          </a:solidFill>
          <a:ln w="28575" cap="flat" cmpd="sng" algn="ctr">
            <a:solidFill>
              <a:schemeClr val="bg2"/>
            </a:solidFill>
            <a:prstDash val="solid"/>
            <a:miter lim="800000"/>
            <a:headEnd/>
            <a:tailEnd/>
          </a:ln>
          <a:effectLst/>
        </p:spPr>
        <p:txBody>
          <a:bodyPr anchor="ctr"/>
          <a:lstStyle/>
          <a:p>
            <a:pPr algn="ctr" defTabSz="904538">
              <a:defRPr/>
            </a:pPr>
            <a:r>
              <a:rPr lang="en-US" sz="2800" b="1" kern="0" dirty="0">
                <a:solidFill>
                  <a:prstClr val="white"/>
                </a:solidFill>
                <a:latin typeface="Calibri"/>
              </a:rPr>
              <a:t>ALL QUERIES ARE TRACKED</a:t>
            </a:r>
          </a:p>
        </p:txBody>
      </p:sp>
      <p:sp>
        <p:nvSpPr>
          <p:cNvPr id="13" name="Rectangle 12">
            <a:extLst>
              <a:ext uri="{FF2B5EF4-FFF2-40B4-BE49-F238E27FC236}">
                <a16:creationId xmlns:a16="http://schemas.microsoft.com/office/drawing/2014/main" id="{9516FDE1-521D-BB49-9248-D8B132CF218E}"/>
              </a:ext>
            </a:extLst>
          </p:cNvPr>
          <p:cNvSpPr>
            <a:spLocks noChangeArrowheads="1"/>
          </p:cNvSpPr>
          <p:nvPr/>
        </p:nvSpPr>
        <p:spPr bwMode="auto">
          <a:xfrm>
            <a:off x="6191267" y="4388941"/>
            <a:ext cx="2600296" cy="1856745"/>
          </a:xfrm>
          <a:prstGeom prst="rect">
            <a:avLst/>
          </a:prstGeom>
          <a:solidFill>
            <a:schemeClr val="bg2"/>
          </a:solidFill>
          <a:ln w="28575" cap="flat" cmpd="sng" algn="ctr">
            <a:solidFill>
              <a:schemeClr val="bg2"/>
            </a:solidFill>
            <a:prstDash val="solid"/>
            <a:miter lim="800000"/>
            <a:headEnd/>
            <a:tailEnd/>
          </a:ln>
          <a:effectLst/>
        </p:spPr>
        <p:txBody>
          <a:bodyPr anchor="ctr"/>
          <a:lstStyle/>
          <a:p>
            <a:pPr algn="ctr" defTabSz="904538">
              <a:defRPr/>
            </a:pPr>
            <a:r>
              <a:rPr lang="en-US" sz="2800" b="1" kern="0" dirty="0">
                <a:solidFill>
                  <a:prstClr val="white"/>
                </a:solidFill>
                <a:latin typeface="Calibri"/>
              </a:rPr>
              <a:t>RELATED ENTITIES EXPLICITLY LOADED</a:t>
            </a:r>
          </a:p>
        </p:txBody>
      </p:sp>
      <p:sp>
        <p:nvSpPr>
          <p:cNvPr id="15" name="Rectangle 14">
            <a:extLst>
              <a:ext uri="{FF2B5EF4-FFF2-40B4-BE49-F238E27FC236}">
                <a16:creationId xmlns:a16="http://schemas.microsoft.com/office/drawing/2014/main" id="{0C6D4622-D103-7144-8506-E394D097BAD3}"/>
              </a:ext>
            </a:extLst>
          </p:cNvPr>
          <p:cNvSpPr>
            <a:spLocks noChangeArrowheads="1"/>
          </p:cNvSpPr>
          <p:nvPr/>
        </p:nvSpPr>
        <p:spPr bwMode="auto">
          <a:xfrm>
            <a:off x="8982101" y="4388941"/>
            <a:ext cx="2600296" cy="1856745"/>
          </a:xfrm>
          <a:prstGeom prst="rect">
            <a:avLst/>
          </a:prstGeom>
          <a:solidFill>
            <a:schemeClr val="bg2"/>
          </a:solidFill>
          <a:ln w="28575" cap="flat" cmpd="sng" algn="ctr">
            <a:solidFill>
              <a:schemeClr val="bg2"/>
            </a:solidFill>
            <a:prstDash val="solid"/>
            <a:miter lim="800000"/>
            <a:headEnd/>
            <a:tailEnd/>
          </a:ln>
          <a:effectLst/>
        </p:spPr>
        <p:txBody>
          <a:bodyPr anchor="ctr"/>
          <a:lstStyle/>
          <a:p>
            <a:pPr algn="ctr" defTabSz="904538">
              <a:defRPr/>
            </a:pPr>
            <a:r>
              <a:rPr lang="en-US" sz="2800" b="1" kern="0" dirty="0">
                <a:solidFill>
                  <a:prstClr val="white"/>
                </a:solidFill>
                <a:latin typeface="Calibri"/>
              </a:rPr>
              <a:t>LIMITED LOGGING OF ERRORS AND WARNINGS</a:t>
            </a:r>
          </a:p>
        </p:txBody>
      </p:sp>
    </p:spTree>
    <p:extLst>
      <p:ext uri="{BB962C8B-B14F-4D97-AF65-F5344CB8AC3E}">
        <p14:creationId xmlns:p14="http://schemas.microsoft.com/office/powerpoint/2010/main" val="25540778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0F980-8EC4-964F-AB80-B47A74B5A863}"/>
              </a:ext>
            </a:extLst>
          </p:cNvPr>
          <p:cNvSpPr>
            <a:spLocks noGrp="1"/>
          </p:cNvSpPr>
          <p:nvPr>
            <p:ph type="title"/>
          </p:nvPr>
        </p:nvSpPr>
        <p:spPr/>
        <p:txBody>
          <a:bodyPr/>
          <a:lstStyle/>
          <a:p>
            <a:r>
              <a:rPr lang="en-US" sz="4400" dirty="0"/>
              <a:t>These Aren’t All Bad…</a:t>
            </a:r>
          </a:p>
        </p:txBody>
      </p:sp>
      <p:sp>
        <p:nvSpPr>
          <p:cNvPr id="3" name="Text Placeholder 2">
            <a:extLst>
              <a:ext uri="{FF2B5EF4-FFF2-40B4-BE49-F238E27FC236}">
                <a16:creationId xmlns:a16="http://schemas.microsoft.com/office/drawing/2014/main" id="{2F2C8748-72A2-7A43-8D3A-AF2323DCCB59}"/>
              </a:ext>
            </a:extLst>
          </p:cNvPr>
          <p:cNvSpPr>
            <a:spLocks noGrp="1"/>
          </p:cNvSpPr>
          <p:nvPr>
            <p:ph type="body" sz="quarter" idx="13"/>
          </p:nvPr>
        </p:nvSpPr>
        <p:spPr/>
        <p:txBody>
          <a:bodyPr/>
          <a:lstStyle/>
          <a:p>
            <a:r>
              <a:rPr lang="en-US" dirty="0"/>
              <a:t>CONFIGURATION</a:t>
            </a:r>
          </a:p>
        </p:txBody>
      </p:sp>
      <p:sp>
        <p:nvSpPr>
          <p:cNvPr id="4" name="Slide Number Placeholder 3">
            <a:extLst>
              <a:ext uri="{FF2B5EF4-FFF2-40B4-BE49-F238E27FC236}">
                <a16:creationId xmlns:a16="http://schemas.microsoft.com/office/drawing/2014/main" id="{CF8C0BB3-76C6-384C-9F2E-49B2D6C01003}"/>
              </a:ext>
            </a:extLst>
          </p:cNvPr>
          <p:cNvSpPr>
            <a:spLocks noGrp="1"/>
          </p:cNvSpPr>
          <p:nvPr>
            <p:ph type="sldNum" sz="quarter" idx="4"/>
          </p:nvPr>
        </p:nvSpPr>
        <p:spPr/>
        <p:txBody>
          <a:bodyPr/>
          <a:lstStyle/>
          <a:p>
            <a:fld id="{E1123682-AE52-6D45-865E-F1EB3AE0E340}" type="slidenum">
              <a:rPr lang="en-US" smtClean="0"/>
              <a:pPr/>
              <a:t>9</a:t>
            </a:fld>
            <a:endParaRPr lang="en-US" dirty="0"/>
          </a:p>
        </p:txBody>
      </p:sp>
      <p:sp>
        <p:nvSpPr>
          <p:cNvPr id="5" name="Chevron 4">
            <a:extLst>
              <a:ext uri="{FF2B5EF4-FFF2-40B4-BE49-F238E27FC236}">
                <a16:creationId xmlns:a16="http://schemas.microsoft.com/office/drawing/2014/main" id="{871455EC-2896-A74C-A9A0-B5244D1D6B5C}"/>
              </a:ext>
            </a:extLst>
          </p:cNvPr>
          <p:cNvSpPr/>
          <p:nvPr>
            <p:custDataLst>
              <p:tags r:id="rId1"/>
            </p:custDataLst>
          </p:nvPr>
        </p:nvSpPr>
        <p:spPr>
          <a:xfrm>
            <a:off x="1181575" y="1837203"/>
            <a:ext cx="1247377" cy="1982099"/>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077">
              <a:latin typeface="Calibri" pitchFamily="34" charset="0"/>
            </a:endParaRPr>
          </a:p>
        </p:txBody>
      </p:sp>
      <p:sp>
        <p:nvSpPr>
          <p:cNvPr id="6" name="TextBox 2">
            <a:extLst>
              <a:ext uri="{FF2B5EF4-FFF2-40B4-BE49-F238E27FC236}">
                <a16:creationId xmlns:a16="http://schemas.microsoft.com/office/drawing/2014/main" id="{BF2A422D-1C1A-0B41-9B1B-7ABC1EF4984C}"/>
              </a:ext>
            </a:extLst>
          </p:cNvPr>
          <p:cNvSpPr txBox="1">
            <a:spLocks noChangeArrowheads="1"/>
          </p:cNvSpPr>
          <p:nvPr>
            <p:custDataLst>
              <p:tags r:id="rId2"/>
            </p:custDataLst>
          </p:nvPr>
        </p:nvSpPr>
        <p:spPr bwMode="auto">
          <a:xfrm>
            <a:off x="609600" y="1449462"/>
            <a:ext cx="3139257"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chemeClr val="tx1"/>
                </a:solidFill>
                <a:latin typeface="Helvetica" pitchFamily="34" charset="0"/>
              </a:defRPr>
            </a:lvl1pPr>
            <a:lvl2pPr marL="742950" indent="-285750" eaLnBrk="0" hangingPunct="0">
              <a:defRPr sz="2400">
                <a:solidFill>
                  <a:schemeClr val="tx1"/>
                </a:solidFill>
                <a:latin typeface="Helvetica" pitchFamily="34" charset="0"/>
              </a:defRPr>
            </a:lvl2pPr>
            <a:lvl3pPr marL="1143000" indent="-228600" eaLnBrk="0" hangingPunct="0">
              <a:defRPr sz="2400">
                <a:solidFill>
                  <a:schemeClr val="tx1"/>
                </a:solidFill>
                <a:latin typeface="Helvetica" pitchFamily="34" charset="0"/>
              </a:defRPr>
            </a:lvl3pPr>
            <a:lvl4pPr marL="1600200" indent="-228600" eaLnBrk="0" hangingPunct="0">
              <a:defRPr sz="2400">
                <a:solidFill>
                  <a:schemeClr val="tx1"/>
                </a:solidFill>
                <a:latin typeface="Helvetica" pitchFamily="34" charset="0"/>
              </a:defRPr>
            </a:lvl4pPr>
            <a:lvl5pPr marL="2057400" indent="-228600" eaLnBrk="0" hangingPunct="0">
              <a:defRPr sz="2400">
                <a:solidFill>
                  <a:schemeClr val="tx1"/>
                </a:solidFill>
                <a:latin typeface="Helvetica" pitchFamily="34" charset="0"/>
              </a:defRPr>
            </a:lvl5pPr>
            <a:lvl6pPr marL="25146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6pPr>
            <a:lvl7pPr marL="29718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7pPr>
            <a:lvl8pPr marL="34290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8pPr>
            <a:lvl9pPr marL="38862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9pPr>
          </a:lstStyle>
          <a:p>
            <a:pPr eaLnBrk="1" hangingPunct="1">
              <a:buFont typeface="Wingdings" pitchFamily="2" charset="2"/>
              <a:buNone/>
            </a:pPr>
            <a:r>
              <a:rPr lang="en-US" sz="2000" b="1" spc="600" dirty="0">
                <a:solidFill>
                  <a:schemeClr val="tx1">
                    <a:lumMod val="75000"/>
                  </a:schemeClr>
                </a:solidFill>
                <a:latin typeface="Calibri" pitchFamily="34" charset="0"/>
              </a:rPr>
              <a:t>DOS AND DON’TS</a:t>
            </a:r>
          </a:p>
        </p:txBody>
      </p:sp>
      <p:sp>
        <p:nvSpPr>
          <p:cNvPr id="7" name="TextBox 2">
            <a:extLst>
              <a:ext uri="{FF2B5EF4-FFF2-40B4-BE49-F238E27FC236}">
                <a16:creationId xmlns:a16="http://schemas.microsoft.com/office/drawing/2014/main" id="{3377EC2F-3E95-F74E-8AB8-D20149586B8B}"/>
              </a:ext>
            </a:extLst>
          </p:cNvPr>
          <p:cNvSpPr txBox="1">
            <a:spLocks noChangeArrowheads="1"/>
          </p:cNvSpPr>
          <p:nvPr>
            <p:custDataLst>
              <p:tags r:id="rId3"/>
            </p:custDataLst>
          </p:nvPr>
        </p:nvSpPr>
        <p:spPr bwMode="auto">
          <a:xfrm>
            <a:off x="609600" y="3802794"/>
            <a:ext cx="10733037"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 pitchFamily="34" charset="0"/>
              </a:defRPr>
            </a:lvl1pPr>
            <a:lvl2pPr marL="742950" indent="-285750" eaLnBrk="0" hangingPunct="0">
              <a:defRPr sz="2400">
                <a:solidFill>
                  <a:schemeClr val="tx1"/>
                </a:solidFill>
                <a:latin typeface="Helvetica" pitchFamily="34" charset="0"/>
              </a:defRPr>
            </a:lvl2pPr>
            <a:lvl3pPr marL="1143000" indent="-228600" eaLnBrk="0" hangingPunct="0">
              <a:defRPr sz="2400">
                <a:solidFill>
                  <a:schemeClr val="tx1"/>
                </a:solidFill>
                <a:latin typeface="Helvetica" pitchFamily="34" charset="0"/>
              </a:defRPr>
            </a:lvl3pPr>
            <a:lvl4pPr marL="1600200" indent="-228600" eaLnBrk="0" hangingPunct="0">
              <a:defRPr sz="2400">
                <a:solidFill>
                  <a:schemeClr val="tx1"/>
                </a:solidFill>
                <a:latin typeface="Helvetica" pitchFamily="34" charset="0"/>
              </a:defRPr>
            </a:lvl4pPr>
            <a:lvl5pPr marL="2057400" indent="-228600" eaLnBrk="0" hangingPunct="0">
              <a:defRPr sz="2400">
                <a:solidFill>
                  <a:schemeClr val="tx1"/>
                </a:solidFill>
                <a:latin typeface="Helvetica" pitchFamily="34" charset="0"/>
              </a:defRPr>
            </a:lvl5pPr>
            <a:lvl6pPr marL="25146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6pPr>
            <a:lvl7pPr marL="29718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7pPr>
            <a:lvl8pPr marL="34290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8pPr>
            <a:lvl9pPr marL="38862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9pPr>
          </a:lstStyle>
          <a:p>
            <a:pPr eaLnBrk="1" hangingPunct="1">
              <a:buFont typeface="Wingdings" pitchFamily="2" charset="2"/>
              <a:buNone/>
            </a:pPr>
            <a:r>
              <a:rPr lang="en-US" sz="2000" b="1" spc="600" dirty="0">
                <a:solidFill>
                  <a:schemeClr val="tx1">
                    <a:lumMod val="75000"/>
                  </a:schemeClr>
                </a:solidFill>
                <a:latin typeface="Calibri" pitchFamily="34" charset="0"/>
              </a:rPr>
              <a:t>A SUGGESTED CONFIGURATION</a:t>
            </a:r>
          </a:p>
        </p:txBody>
      </p:sp>
      <p:sp>
        <p:nvSpPr>
          <p:cNvPr id="11" name="Chevron 10">
            <a:extLst>
              <a:ext uri="{FF2B5EF4-FFF2-40B4-BE49-F238E27FC236}">
                <a16:creationId xmlns:a16="http://schemas.microsoft.com/office/drawing/2014/main" id="{34235AE7-EC16-634B-8E71-1B6050E3C8D0}"/>
              </a:ext>
            </a:extLst>
          </p:cNvPr>
          <p:cNvSpPr/>
          <p:nvPr>
            <p:custDataLst>
              <p:tags r:id="rId4"/>
            </p:custDataLst>
          </p:nvPr>
        </p:nvSpPr>
        <p:spPr>
          <a:xfrm>
            <a:off x="4102096" y="1834626"/>
            <a:ext cx="1247377" cy="1982099"/>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077">
              <a:latin typeface="Calibri" pitchFamily="34" charset="0"/>
            </a:endParaRPr>
          </a:p>
        </p:txBody>
      </p:sp>
      <p:sp>
        <p:nvSpPr>
          <p:cNvPr id="12" name="Chevron 11">
            <a:extLst>
              <a:ext uri="{FF2B5EF4-FFF2-40B4-BE49-F238E27FC236}">
                <a16:creationId xmlns:a16="http://schemas.microsoft.com/office/drawing/2014/main" id="{B9852BBD-8B3C-1D4E-B569-B616A724894C}"/>
              </a:ext>
            </a:extLst>
          </p:cNvPr>
          <p:cNvSpPr/>
          <p:nvPr>
            <p:custDataLst>
              <p:tags r:id="rId5"/>
            </p:custDataLst>
          </p:nvPr>
        </p:nvSpPr>
        <p:spPr>
          <a:xfrm>
            <a:off x="7022617" y="1834626"/>
            <a:ext cx="1247377" cy="1982099"/>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077">
              <a:latin typeface="Calibri" pitchFamily="34" charset="0"/>
            </a:endParaRPr>
          </a:p>
        </p:txBody>
      </p:sp>
      <p:sp>
        <p:nvSpPr>
          <p:cNvPr id="13" name="Chevron 12">
            <a:extLst>
              <a:ext uri="{FF2B5EF4-FFF2-40B4-BE49-F238E27FC236}">
                <a16:creationId xmlns:a16="http://schemas.microsoft.com/office/drawing/2014/main" id="{7D9340B5-DC27-1C45-9790-E52C4895ED86}"/>
              </a:ext>
            </a:extLst>
          </p:cNvPr>
          <p:cNvSpPr/>
          <p:nvPr>
            <p:custDataLst>
              <p:tags r:id="rId6"/>
            </p:custDataLst>
          </p:nvPr>
        </p:nvSpPr>
        <p:spPr>
          <a:xfrm>
            <a:off x="9943137" y="1834626"/>
            <a:ext cx="1247377" cy="1982099"/>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077">
              <a:latin typeface="Calibri" pitchFamily="34" charset="0"/>
            </a:endParaRPr>
          </a:p>
        </p:txBody>
      </p:sp>
      <p:sp>
        <p:nvSpPr>
          <p:cNvPr id="14" name="Rectangle 13">
            <a:extLst>
              <a:ext uri="{FF2B5EF4-FFF2-40B4-BE49-F238E27FC236}">
                <a16:creationId xmlns:a16="http://schemas.microsoft.com/office/drawing/2014/main" id="{4DBA9F42-0CC1-2741-9302-CE7CDDB73FB7}"/>
              </a:ext>
            </a:extLst>
          </p:cNvPr>
          <p:cNvSpPr/>
          <p:nvPr>
            <p:custDataLst>
              <p:tags r:id="rId7"/>
            </p:custDataLst>
          </p:nvPr>
        </p:nvSpPr>
        <p:spPr>
          <a:xfrm>
            <a:off x="1858185" y="1992851"/>
            <a:ext cx="2436213" cy="1654295"/>
          </a:xfrm>
          <a:prstGeom prst="rect">
            <a:avLst/>
          </a:prstGeom>
          <a:solidFill>
            <a:schemeClr val="bg2"/>
          </a:solidFill>
          <a:ln>
            <a:solidFill>
              <a:schemeClr val="bg2"/>
            </a:solidFill>
          </a:ln>
        </p:spPr>
        <p:style>
          <a:lnRef idx="2">
            <a:schemeClr val="accent6">
              <a:shade val="50000"/>
            </a:schemeClr>
          </a:lnRef>
          <a:fillRef idx="1">
            <a:schemeClr val="accent6"/>
          </a:fillRef>
          <a:effectRef idx="0">
            <a:schemeClr val="accent6"/>
          </a:effectRef>
          <a:fontRef idx="minor">
            <a:schemeClr val="lt1"/>
          </a:fontRef>
        </p:style>
        <p:txBody>
          <a:bodyPr lIns="114759" tIns="114759" rIns="114759" bIns="114759" spcCol="1270"/>
          <a:lstStyle/>
          <a:p>
            <a:pPr defTabSz="615437">
              <a:lnSpc>
                <a:spcPct val="90000"/>
              </a:lnSpc>
              <a:spcAft>
                <a:spcPct val="35000"/>
              </a:spcAft>
              <a:defRPr/>
            </a:pPr>
            <a:r>
              <a:rPr lang="en-US" sz="2400" b="1" dirty="0">
                <a:solidFill>
                  <a:schemeClr val="bg1"/>
                </a:solidFill>
                <a:latin typeface="Calibri" pitchFamily="34" charset="0"/>
              </a:rPr>
              <a:t>DO</a:t>
            </a:r>
            <a:endParaRPr lang="en-US" sz="1200" b="1" dirty="0">
              <a:solidFill>
                <a:schemeClr val="bg1"/>
              </a:solidFill>
              <a:latin typeface="Calibri" pitchFamily="34" charset="0"/>
            </a:endParaRPr>
          </a:p>
          <a:p>
            <a:pPr marL="339202" indent="-339202" defTabSz="904538">
              <a:lnSpc>
                <a:spcPct val="90000"/>
              </a:lnSpc>
              <a:spcBef>
                <a:spcPct val="20000"/>
              </a:spcBef>
              <a:buSzPct val="100000"/>
              <a:buFont typeface="Arial" panose="020B0604020202020204" pitchFamily="34" charset="0"/>
              <a:buChar char="•"/>
            </a:pPr>
            <a:r>
              <a:rPr lang="en-US" sz="1600" dirty="0">
                <a:solidFill>
                  <a:schemeClr val="bg1"/>
                </a:solidFill>
              </a:rPr>
              <a:t>Implement a retry policy</a:t>
            </a:r>
          </a:p>
          <a:p>
            <a:pPr marL="339202" indent="-339202" defTabSz="904538">
              <a:lnSpc>
                <a:spcPct val="90000"/>
              </a:lnSpc>
              <a:spcBef>
                <a:spcPct val="20000"/>
              </a:spcBef>
              <a:buSzPct val="100000"/>
              <a:buFont typeface="Arial" panose="020B0604020202020204" pitchFamily="34" charset="0"/>
              <a:buChar char="•"/>
            </a:pPr>
            <a:r>
              <a:rPr lang="en-US" sz="1600" dirty="0">
                <a:solidFill>
                  <a:schemeClr val="bg1"/>
                </a:solidFill>
              </a:rPr>
              <a:t>Use the proper tracking behavior</a:t>
            </a:r>
          </a:p>
        </p:txBody>
      </p:sp>
      <p:sp>
        <p:nvSpPr>
          <p:cNvPr id="15" name="Rectangle 14">
            <a:extLst>
              <a:ext uri="{FF2B5EF4-FFF2-40B4-BE49-F238E27FC236}">
                <a16:creationId xmlns:a16="http://schemas.microsoft.com/office/drawing/2014/main" id="{DF953326-3AD5-6844-9AFD-59B458682339}"/>
              </a:ext>
            </a:extLst>
          </p:cNvPr>
          <p:cNvSpPr/>
          <p:nvPr>
            <p:custDataLst>
              <p:tags r:id="rId8"/>
            </p:custDataLst>
          </p:nvPr>
        </p:nvSpPr>
        <p:spPr>
          <a:xfrm>
            <a:off x="4929217" y="1992851"/>
            <a:ext cx="2436213" cy="1654295"/>
          </a:xfrm>
          <a:prstGeom prst="rect">
            <a:avLst/>
          </a:prstGeom>
          <a:solidFill>
            <a:schemeClr val="bg2"/>
          </a:solidFill>
          <a:ln>
            <a:solidFill>
              <a:schemeClr val="bg2"/>
            </a:solidFill>
          </a:ln>
        </p:spPr>
        <p:style>
          <a:lnRef idx="2">
            <a:schemeClr val="accent6">
              <a:shade val="50000"/>
            </a:schemeClr>
          </a:lnRef>
          <a:fillRef idx="1">
            <a:schemeClr val="accent6"/>
          </a:fillRef>
          <a:effectRef idx="0">
            <a:schemeClr val="accent6"/>
          </a:effectRef>
          <a:fontRef idx="minor">
            <a:schemeClr val="lt1"/>
          </a:fontRef>
        </p:style>
        <p:txBody>
          <a:bodyPr lIns="114759" tIns="114759" rIns="114759" bIns="114759" spcCol="1270"/>
          <a:lstStyle/>
          <a:p>
            <a:pPr defTabSz="615437">
              <a:lnSpc>
                <a:spcPct val="90000"/>
              </a:lnSpc>
              <a:spcAft>
                <a:spcPct val="35000"/>
              </a:spcAft>
              <a:defRPr/>
            </a:pPr>
            <a:r>
              <a:rPr lang="en-US" sz="2400" b="1" dirty="0">
                <a:solidFill>
                  <a:schemeClr val="bg1"/>
                </a:solidFill>
                <a:latin typeface="Calibri" pitchFamily="34" charset="0"/>
              </a:rPr>
              <a:t>DO</a:t>
            </a:r>
          </a:p>
          <a:p>
            <a:pPr marL="339202" indent="-339202" defTabSz="904538">
              <a:lnSpc>
                <a:spcPct val="90000"/>
              </a:lnSpc>
              <a:spcBef>
                <a:spcPct val="20000"/>
              </a:spcBef>
              <a:buSzPct val="100000"/>
              <a:buFont typeface="Arial" panose="020B0604020202020204" pitchFamily="34" charset="0"/>
              <a:buChar char="•"/>
            </a:pPr>
            <a:r>
              <a:rPr lang="en-US" sz="1600" dirty="0">
                <a:solidFill>
                  <a:schemeClr val="bg1"/>
                </a:solidFill>
              </a:rPr>
              <a:t>Log errors and warnings in the development environment</a:t>
            </a:r>
          </a:p>
        </p:txBody>
      </p:sp>
      <p:sp>
        <p:nvSpPr>
          <p:cNvPr id="16" name="Rectangle 15">
            <a:extLst>
              <a:ext uri="{FF2B5EF4-FFF2-40B4-BE49-F238E27FC236}">
                <a16:creationId xmlns:a16="http://schemas.microsoft.com/office/drawing/2014/main" id="{7C979F35-3C94-4C4F-B620-41B1DBBE144C}"/>
              </a:ext>
            </a:extLst>
          </p:cNvPr>
          <p:cNvSpPr/>
          <p:nvPr>
            <p:custDataLst>
              <p:tags r:id="rId9"/>
            </p:custDataLst>
          </p:nvPr>
        </p:nvSpPr>
        <p:spPr>
          <a:xfrm>
            <a:off x="8000249" y="1992851"/>
            <a:ext cx="2436213" cy="1654295"/>
          </a:xfrm>
          <a:prstGeom prst="rect">
            <a:avLst/>
          </a:prstGeom>
          <a:solidFill>
            <a:schemeClr val="bg2"/>
          </a:solidFill>
          <a:ln>
            <a:solidFill>
              <a:schemeClr val="bg2"/>
            </a:solidFill>
          </a:ln>
        </p:spPr>
        <p:style>
          <a:lnRef idx="2">
            <a:schemeClr val="accent6">
              <a:shade val="50000"/>
            </a:schemeClr>
          </a:lnRef>
          <a:fillRef idx="1">
            <a:schemeClr val="accent6"/>
          </a:fillRef>
          <a:effectRef idx="0">
            <a:schemeClr val="accent6"/>
          </a:effectRef>
          <a:fontRef idx="minor">
            <a:schemeClr val="lt1"/>
          </a:fontRef>
        </p:style>
        <p:txBody>
          <a:bodyPr lIns="114759" tIns="114759" rIns="114759" bIns="114759" spcCol="1270"/>
          <a:lstStyle/>
          <a:p>
            <a:pPr defTabSz="615437">
              <a:lnSpc>
                <a:spcPct val="90000"/>
              </a:lnSpc>
              <a:spcAft>
                <a:spcPct val="35000"/>
              </a:spcAft>
              <a:defRPr/>
            </a:pPr>
            <a:r>
              <a:rPr lang="en-US" sz="2400" b="1" dirty="0">
                <a:solidFill>
                  <a:schemeClr val="bg1"/>
                </a:solidFill>
                <a:latin typeface="Calibri" pitchFamily="34" charset="0"/>
              </a:rPr>
              <a:t>DON’T</a:t>
            </a:r>
          </a:p>
          <a:p>
            <a:pPr marL="339202" indent="-339202" defTabSz="904538">
              <a:lnSpc>
                <a:spcPct val="90000"/>
              </a:lnSpc>
              <a:spcBef>
                <a:spcPct val="20000"/>
              </a:spcBef>
              <a:buSzPct val="100000"/>
              <a:buFont typeface="Arial" panose="020B0604020202020204" pitchFamily="34" charset="0"/>
              <a:buChar char="•"/>
            </a:pPr>
            <a:r>
              <a:rPr lang="en-US" sz="1600" dirty="0">
                <a:solidFill>
                  <a:schemeClr val="bg1"/>
                </a:solidFill>
              </a:rPr>
              <a:t>Enable Lazy or Eager loading proxies</a:t>
            </a:r>
          </a:p>
        </p:txBody>
      </p:sp>
      <p:pic>
        <p:nvPicPr>
          <p:cNvPr id="18" name="Picture 17" descr="Text&#10;&#10;Description automatically generated">
            <a:extLst>
              <a:ext uri="{FF2B5EF4-FFF2-40B4-BE49-F238E27FC236}">
                <a16:creationId xmlns:a16="http://schemas.microsoft.com/office/drawing/2014/main" id="{446AC26F-1556-8041-B0E3-7B1780C03F79}"/>
              </a:ext>
            </a:extLst>
          </p:cNvPr>
          <p:cNvPicPr>
            <a:picLocks noChangeAspect="1"/>
          </p:cNvPicPr>
          <p:nvPr/>
        </p:nvPicPr>
        <p:blipFill>
          <a:blip r:embed="rId11"/>
          <a:stretch>
            <a:fillRect/>
          </a:stretch>
        </p:blipFill>
        <p:spPr>
          <a:xfrm>
            <a:off x="2794000" y="4202498"/>
            <a:ext cx="6604000" cy="2197100"/>
          </a:xfrm>
          <a:prstGeom prst="rect">
            <a:avLst/>
          </a:prstGeom>
        </p:spPr>
      </p:pic>
    </p:spTree>
    <p:extLst>
      <p:ext uri="{BB962C8B-B14F-4D97-AF65-F5344CB8AC3E}">
        <p14:creationId xmlns:p14="http://schemas.microsoft.com/office/powerpoint/2010/main" val="39264662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XOhTwB.80K2sDq21FoR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G0CCKL5MEqwyIoBgd2ytg"/>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kGVChua.02y_anCcbD3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dvsiKtLYkKZXkZvpdg84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lh1G_txCUC08scltbFh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kGVChua.02y_anCcbD3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kGVChua.02y_anCcbD3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kGVChua.02y_anCcbD3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b0GsqpoE6kjNkDuMIWqQ"/>
</p:tagLst>
</file>

<file path=ppt/theme/theme1.xml><?xml version="1.0" encoding="utf-8"?>
<a:theme xmlns:a="http://schemas.openxmlformats.org/drawingml/2006/main" name="2021 WM Template">
  <a:themeElements>
    <a:clrScheme name="West Monroe 052020">
      <a:dk1>
        <a:srgbClr val="5E5E5E"/>
      </a:dk1>
      <a:lt1>
        <a:srgbClr val="FFFFFF"/>
      </a:lt1>
      <a:dk2>
        <a:srgbClr val="D5D5D5"/>
      </a:dk2>
      <a:lt2>
        <a:srgbClr val="00223A"/>
      </a:lt2>
      <a:accent1>
        <a:srgbClr val="142238"/>
      </a:accent1>
      <a:accent2>
        <a:srgbClr val="1A4F5E"/>
      </a:accent2>
      <a:accent3>
        <a:srgbClr val="108A63"/>
      </a:accent3>
      <a:accent4>
        <a:srgbClr val="6AB550"/>
      </a:accent4>
      <a:accent5>
        <a:srgbClr val="F1AE2A"/>
      </a:accent5>
      <a:accent6>
        <a:srgbClr val="D34127"/>
      </a:accent6>
      <a:hlink>
        <a:srgbClr val="00223A"/>
      </a:hlink>
      <a:folHlink>
        <a:srgbClr val="F1AE2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285750" indent="-285750" algn="l">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Presentation1" id="{D814CC29-9F45-AB45-AA70-61D93CC7CE03}" vid="{935730EC-0257-4643-A405-13FA00A2149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7CC54EB41E57040A0736DAB03637372" ma:contentTypeVersion="44" ma:contentTypeDescription="Create a new document." ma:contentTypeScope="" ma:versionID="3aac908af1c76e8eaf6bdcb23945d492">
  <xsd:schema xmlns:xsd="http://www.w3.org/2001/XMLSchema" xmlns:xs="http://www.w3.org/2001/XMLSchema" xmlns:p="http://schemas.microsoft.com/office/2006/metadata/properties" xmlns:ns1="http://schemas.microsoft.com/sharepoint/v3" xmlns:ns2="a7e061c1-e211-4fb8-ac16-2d7a4cc996c3" xmlns:ns3="328a33b6-d7ba-4a90-827e-5704a23d8a19" targetNamespace="http://schemas.microsoft.com/office/2006/metadata/properties" ma:root="true" ma:fieldsID="cd12fb5afb5493d35ffbe73df9987806" ns1:_="" ns2:_="" ns3:_="">
    <xsd:import namespace="http://schemas.microsoft.com/sharepoint/v3"/>
    <xsd:import namespace="a7e061c1-e211-4fb8-ac16-2d7a4cc996c3"/>
    <xsd:import namespace="328a33b6-d7ba-4a90-827e-5704a23d8a19"/>
    <xsd:element name="properties">
      <xsd:complexType>
        <xsd:sequence>
          <xsd:element name="documentManagement">
            <xsd:complexType>
              <xsd:all>
                <xsd:element ref="ns1:PublishingStartDate" minOccurs="0"/>
                <xsd:element ref="ns1:PublishingExpirationDate" minOccurs="0"/>
                <xsd:element ref="ns2:MediaServiceMetadata" minOccurs="0"/>
                <xsd:element ref="ns2:MediaServiceFastMetadata" minOccurs="0"/>
                <xsd:element ref="ns2:MediaServiceDateTaken" minOccurs="0"/>
                <xsd:element ref="ns3:SharedWithUsers" minOccurs="0"/>
                <xsd:element ref="ns3:SharedWithDetails" minOccurs="0"/>
                <xsd:element ref="ns2:MediaServiceEventHashCode" minOccurs="0"/>
                <xsd:element ref="ns2:MediaServiceGenerationTime" minOccurs="0"/>
                <xsd:element ref="ns2:MediaServiceAutoTags" minOccurs="0"/>
                <xsd:element ref="ns2:MediaServiceOCR" minOccurs="0"/>
                <xsd:element ref="ns2:MediaServiceAutoKeyPoints" minOccurs="0"/>
                <xsd:element ref="ns2:MediaServiceKeyPoints"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5"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7e061c1-e211-4fb8-ac16-2d7a4cc996c3"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element name="MediaLengthInSeconds" ma:index="22"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28a33b6-d7ba-4a90-827e-5704a23d8a1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SharedWithUsers xmlns="328a33b6-d7ba-4a90-827e-5704a23d8a19">
      <UserInfo>
        <DisplayName>William Hinde</DisplayName>
        <AccountId>350</AccountId>
        <AccountType/>
      </UserInfo>
      <UserInfo>
        <DisplayName>Gregory Layok</DisplayName>
        <AccountId>209</AccountId>
        <AccountType/>
      </UserInfo>
      <UserInfo>
        <DisplayName>Matt Sondag</DisplayName>
        <AccountId>774</AccountId>
        <AccountType/>
      </UserInfo>
    </SharedWithUsers>
  </documentManagement>
</p:properties>
</file>

<file path=customXml/itemProps1.xml><?xml version="1.0" encoding="utf-8"?>
<ds:datastoreItem xmlns:ds="http://schemas.openxmlformats.org/officeDocument/2006/customXml" ds:itemID="{6C739141-A433-4235-B81D-7F7E89C7ED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7e061c1-e211-4fb8-ac16-2d7a4cc996c3"/>
    <ds:schemaRef ds:uri="328a33b6-d7ba-4a90-827e-5704a23d8a1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3751926-33A7-41F3-B840-3C3A23F4BDED}">
  <ds:schemaRefs>
    <ds:schemaRef ds:uri="http://schemas.microsoft.com/sharepoint/v3/contenttype/forms"/>
  </ds:schemaRefs>
</ds:datastoreItem>
</file>

<file path=customXml/itemProps3.xml><?xml version="1.0" encoding="utf-8"?>
<ds:datastoreItem xmlns:ds="http://schemas.openxmlformats.org/officeDocument/2006/customXml" ds:itemID="{72EC7338-4907-4C7E-8C02-EFDBF382FB88}">
  <ds:schemaRefs>
    <ds:schemaRef ds:uri="http://purl.org/dc/elements/1.1/"/>
    <ds:schemaRef ds:uri="http://purl.org/dc/terms/"/>
    <ds:schemaRef ds:uri="http://www.w3.org/XML/1998/namespace"/>
    <ds:schemaRef ds:uri="http://schemas.microsoft.com/office/2006/metadata/properties"/>
    <ds:schemaRef ds:uri="http://schemas.microsoft.com/office/2006/documentManagement/types"/>
    <ds:schemaRef ds:uri="http://schemas.microsoft.com/sharepoint/v3"/>
    <ds:schemaRef ds:uri="http://purl.org/dc/dcmitype/"/>
    <ds:schemaRef ds:uri="http://schemas.openxmlformats.org/package/2006/metadata/core-properties"/>
    <ds:schemaRef ds:uri="http://schemas.microsoft.com/office/infopath/2007/PartnerControls"/>
    <ds:schemaRef ds:uri="328a33b6-d7ba-4a90-827e-5704a23d8a19"/>
    <ds:schemaRef ds:uri="a7e061c1-e211-4fb8-ac16-2d7a4cc996c3"/>
  </ds:schemaRefs>
</ds:datastoreItem>
</file>

<file path=docProps/app.xml><?xml version="1.0" encoding="utf-8"?>
<Properties xmlns="http://schemas.openxmlformats.org/officeDocument/2006/extended-properties" xmlns:vt="http://schemas.openxmlformats.org/officeDocument/2006/docPropsVTypes">
  <Template>2021 WM Template</Template>
  <TotalTime>13629</TotalTime>
  <Words>1574</Words>
  <Application>Microsoft Macintosh PowerPoint</Application>
  <PresentationFormat>Widescreen</PresentationFormat>
  <Paragraphs>226</Paragraphs>
  <Slides>32</Slides>
  <Notes>3</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32</vt:i4>
      </vt:variant>
    </vt:vector>
  </HeadingPairs>
  <TitlesOfParts>
    <vt:vector size="38" baseType="lpstr">
      <vt:lpstr>Arial</vt:lpstr>
      <vt:lpstr>Calibri</vt:lpstr>
      <vt:lpstr>Calibri Light</vt:lpstr>
      <vt:lpstr>Consolas</vt:lpstr>
      <vt:lpstr>Wingdings</vt:lpstr>
      <vt:lpstr>2021 WM Template</vt:lpstr>
      <vt:lpstr>Entity Framework (Core) Unchained</vt:lpstr>
      <vt:lpstr>PowerPoint Presentation</vt:lpstr>
      <vt:lpstr>PowerPoint Presentation</vt:lpstr>
      <vt:lpstr>PowerPoint Presentation</vt:lpstr>
      <vt:lpstr>PowerPoint Presentation</vt:lpstr>
      <vt:lpstr>What Is Entity Framework Core, Again?</vt:lpstr>
      <vt:lpstr>PowerPoint Presentation</vt:lpstr>
      <vt:lpstr>What Are the Defaults?</vt:lpstr>
      <vt:lpstr>These Aren’t All Bad…</vt:lpstr>
      <vt:lpstr>A Little Bigger For Those In the Back</vt:lpstr>
      <vt:lpstr>PowerPoint Presentation</vt:lpstr>
      <vt:lpstr>Inserting Records – Our First Headscratcher</vt:lpstr>
      <vt:lpstr>How Did This Happen?</vt:lpstr>
      <vt:lpstr>The Method to the Madness</vt:lpstr>
      <vt:lpstr>Reading Data – The Clear Choice</vt:lpstr>
      <vt:lpstr>Updates and Deletes – It Is What It Is</vt:lpstr>
      <vt:lpstr>PowerPoint Presentation</vt:lpstr>
      <vt:lpstr>We Have Already Seen Some</vt:lpstr>
      <vt:lpstr>Other Ways to Destroy Performance</vt:lpstr>
      <vt:lpstr>Using .Select() to Limit Fields</vt:lpstr>
      <vt:lpstr>To Async or Not to Async</vt:lpstr>
      <vt:lpstr>A Note On SQL Server Indexing</vt:lpstr>
      <vt:lpstr>PowerPoint Presentation</vt:lpstr>
      <vt:lpstr>General Guidance</vt:lpstr>
      <vt:lpstr>A View to Admire</vt:lpstr>
      <vt:lpstr>Code First Pitfalls</vt:lpstr>
      <vt:lpstr>PowerPoint Presentation</vt:lpstr>
      <vt:lpstr>Complex Data Operations</vt:lpstr>
      <vt:lpstr>Providing the Best Performance</vt:lpstr>
      <vt:lpstr>Lastly, Some Guiding Word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ity Framework (Core) Unchained</dc:title>
  <dc:creator>Dan Mallott</dc:creator>
  <cp:lastModifiedBy>Dan Mallott</cp:lastModifiedBy>
  <cp:revision>1</cp:revision>
  <cp:lastPrinted>2019-12-04T21:01:47Z</cp:lastPrinted>
  <dcterms:created xsi:type="dcterms:W3CDTF">2021-08-25T19:07:39Z</dcterms:created>
  <dcterms:modified xsi:type="dcterms:W3CDTF">2021-09-15T17:18: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7CC54EB41E57040A0736DAB03637372</vt:lpwstr>
  </property>
</Properties>
</file>